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ink/ink2.xml" ContentType="application/inkml+xml"/>
  <Override PartName="/ppt/notesSlides/notesSlide12.xml" ContentType="application/vnd.openxmlformats-officedocument.presentationml.notesSlide+xml"/>
  <Override PartName="/ppt/ink/ink3.xml" ContentType="application/inkml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54" r:id="rId2"/>
    <p:sldMasterId id="2147483656" r:id="rId3"/>
  </p:sldMasterIdLst>
  <p:notesMasterIdLst>
    <p:notesMasterId r:id="rId26"/>
  </p:notesMasterIdLst>
  <p:sldIdLst>
    <p:sldId id="256" r:id="rId4"/>
    <p:sldId id="257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9" r:id="rId13"/>
    <p:sldId id="293" r:id="rId14"/>
    <p:sldId id="280" r:id="rId15"/>
    <p:sldId id="281" r:id="rId16"/>
    <p:sldId id="282" r:id="rId17"/>
    <p:sldId id="285" r:id="rId18"/>
    <p:sldId id="287" r:id="rId19"/>
    <p:sldId id="288" r:id="rId20"/>
    <p:sldId id="289" r:id="rId21"/>
    <p:sldId id="290" r:id="rId22"/>
    <p:sldId id="291" r:id="rId23"/>
    <p:sldId id="292" r:id="rId24"/>
    <p:sldId id="294" r:id="rId25"/>
  </p:sldIdLst>
  <p:sldSz cx="12192000" cy="6858000"/>
  <p:notesSz cx="6858000" cy="9144000"/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000000"/>
          </p15:clr>
        </p15:guide>
        <p15:guide id="2" pos="3840">
          <p15:clr>
            <a:srgbClr val="000000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000000"/>
          </p15:clr>
        </p15:guide>
        <p15:guide id="2" pos="2160">
          <p15:clr>
            <a:srgbClr val="000000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45" roundtripDataSignature="AMtx7mheM67paxCY7bFt6ftfQca8O4M7+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84DF33-0F7B-49AC-8D09-6AE0D3E7C41B}" v="127" dt="2021-09-25T12:01:25.8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51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45" Type="http://customschemas.google.com/relationships/presentationmetadata" Target="meta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4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iket Chhabra" userId="598e0514-bef3-4e71-b6aa-f2edd6441cff" providerId="ADAL" clId="{7484DF33-0F7B-49AC-8D09-6AE0D3E7C41B}"/>
    <pc:docChg chg="custSel addSld modSld sldOrd modMainMaster">
      <pc:chgData name="Aniket Chhabra" userId="598e0514-bef3-4e71-b6aa-f2edd6441cff" providerId="ADAL" clId="{7484DF33-0F7B-49AC-8D09-6AE0D3E7C41B}" dt="2021-09-25T12:01:25.879" v="267"/>
      <pc:docMkLst>
        <pc:docMk/>
      </pc:docMkLst>
      <pc:sldChg chg="addSp">
        <pc:chgData name="Aniket Chhabra" userId="598e0514-bef3-4e71-b6aa-f2edd6441cff" providerId="ADAL" clId="{7484DF33-0F7B-49AC-8D09-6AE0D3E7C41B}" dt="2021-09-25T10:44:40.199" v="254"/>
        <pc:sldMkLst>
          <pc:docMk/>
          <pc:sldMk cId="0" sldId="272"/>
        </pc:sldMkLst>
        <pc:inkChg chg="add">
          <ac:chgData name="Aniket Chhabra" userId="598e0514-bef3-4e71-b6aa-f2edd6441cff" providerId="ADAL" clId="{7484DF33-0F7B-49AC-8D09-6AE0D3E7C41B}" dt="2021-09-25T10:44:40.199" v="254"/>
          <ac:inkMkLst>
            <pc:docMk/>
            <pc:sldMk cId="0" sldId="272"/>
            <ac:inkMk id="2" creationId="{D24D0B62-B337-452F-9CE4-6AC5FB0AF89A}"/>
          </ac:inkMkLst>
        </pc:inkChg>
      </pc:sldChg>
      <pc:sldChg chg="addSp">
        <pc:chgData name="Aniket Chhabra" userId="598e0514-bef3-4e71-b6aa-f2edd6441cff" providerId="ADAL" clId="{7484DF33-0F7B-49AC-8D09-6AE0D3E7C41B}" dt="2021-09-25T10:44:40.199" v="254"/>
        <pc:sldMkLst>
          <pc:docMk/>
          <pc:sldMk cId="0" sldId="280"/>
        </pc:sldMkLst>
        <pc:inkChg chg="add">
          <ac:chgData name="Aniket Chhabra" userId="598e0514-bef3-4e71-b6aa-f2edd6441cff" providerId="ADAL" clId="{7484DF33-0F7B-49AC-8D09-6AE0D3E7C41B}" dt="2021-09-25T10:44:40.199" v="254"/>
          <ac:inkMkLst>
            <pc:docMk/>
            <pc:sldMk cId="0" sldId="280"/>
            <ac:inkMk id="2" creationId="{A4E91D09-8345-41D2-8F65-803EB74E6201}"/>
          </ac:inkMkLst>
        </pc:inkChg>
      </pc:sldChg>
      <pc:sldChg chg="addSp">
        <pc:chgData name="Aniket Chhabra" userId="598e0514-bef3-4e71-b6aa-f2edd6441cff" providerId="ADAL" clId="{7484DF33-0F7B-49AC-8D09-6AE0D3E7C41B}" dt="2021-09-25T10:55:06.999" v="255"/>
        <pc:sldMkLst>
          <pc:docMk/>
          <pc:sldMk cId="0" sldId="281"/>
        </pc:sldMkLst>
        <pc:inkChg chg="add">
          <ac:chgData name="Aniket Chhabra" userId="598e0514-bef3-4e71-b6aa-f2edd6441cff" providerId="ADAL" clId="{7484DF33-0F7B-49AC-8D09-6AE0D3E7C41B}" dt="2021-09-25T10:55:06.999" v="255"/>
          <ac:inkMkLst>
            <pc:docMk/>
            <pc:sldMk cId="0" sldId="281"/>
            <ac:inkMk id="2" creationId="{1134AAE1-614F-48F0-BFFB-752A3E8B1614}"/>
          </ac:inkMkLst>
        </pc:inkChg>
      </pc:sldChg>
      <pc:sldChg chg="addSp delSp modSp new add mod ord">
        <pc:chgData name="Aniket Chhabra" userId="598e0514-bef3-4e71-b6aa-f2edd6441cff" providerId="ADAL" clId="{7484DF33-0F7B-49AC-8D09-6AE0D3E7C41B}" dt="2021-09-25T09:14:22.024" v="237" actId="1036"/>
        <pc:sldMkLst>
          <pc:docMk/>
          <pc:sldMk cId="4036180272" sldId="293"/>
        </pc:sldMkLst>
        <pc:spChg chg="mod">
          <ac:chgData name="Aniket Chhabra" userId="598e0514-bef3-4e71-b6aa-f2edd6441cff" providerId="ADAL" clId="{7484DF33-0F7B-49AC-8D09-6AE0D3E7C41B}" dt="2021-09-25T09:09:54.263" v="223" actId="948"/>
          <ac:spMkLst>
            <pc:docMk/>
            <pc:sldMk cId="4036180272" sldId="293"/>
            <ac:spMk id="2" creationId="{709B20EB-51C8-4A9D-9DAB-2A0A0C53BF7D}"/>
          </ac:spMkLst>
        </pc:spChg>
        <pc:spChg chg="del">
          <ac:chgData name="Aniket Chhabra" userId="598e0514-bef3-4e71-b6aa-f2edd6441cff" providerId="ADAL" clId="{7484DF33-0F7B-49AC-8D09-6AE0D3E7C41B}" dt="2021-09-25T09:09:42.157" v="6" actId="478"/>
          <ac:spMkLst>
            <pc:docMk/>
            <pc:sldMk cId="4036180272" sldId="293"/>
            <ac:spMk id="3" creationId="{7EAFFE6E-2DF4-486F-8876-1079E5AB1595}"/>
          </ac:spMkLst>
        </pc:spChg>
        <pc:spChg chg="add del mod modVis">
          <ac:chgData name="Aniket Chhabra" userId="598e0514-bef3-4e71-b6aa-f2edd6441cff" providerId="ADAL" clId="{7484DF33-0F7B-49AC-8D09-6AE0D3E7C41B}" dt="2021-09-25T09:09:46.711" v="90"/>
          <ac:spMkLst>
            <pc:docMk/>
            <pc:sldMk cId="4036180272" sldId="293"/>
            <ac:spMk id="6" creationId="{C7373AA8-A1DE-40E5-8859-C583195D7A6D}"/>
          </ac:spMkLst>
        </pc:spChg>
        <pc:spChg chg="add del mod modVis">
          <ac:chgData name="Aniket Chhabra" userId="598e0514-bef3-4e71-b6aa-f2edd6441cff" providerId="ADAL" clId="{7484DF33-0F7B-49AC-8D09-6AE0D3E7C41B}" dt="2021-09-25T09:09:49.608" v="172"/>
          <ac:spMkLst>
            <pc:docMk/>
            <pc:sldMk cId="4036180272" sldId="293"/>
            <ac:spMk id="8" creationId="{A2B285E5-4450-47B9-96B0-3F60624E904E}"/>
          </ac:spMkLst>
        </pc:spChg>
        <pc:spChg chg="add del mod modVis">
          <ac:chgData name="Aniket Chhabra" userId="598e0514-bef3-4e71-b6aa-f2edd6441cff" providerId="ADAL" clId="{7484DF33-0F7B-49AC-8D09-6AE0D3E7C41B}" dt="2021-09-25T09:09:51.781" v="219"/>
          <ac:spMkLst>
            <pc:docMk/>
            <pc:sldMk cId="4036180272" sldId="293"/>
            <ac:spMk id="9" creationId="{ED5E050D-00F5-4761-84FF-B7D8AAA9D2DC}"/>
          </ac:spMkLst>
        </pc:spChg>
        <pc:spChg chg="add del mod">
          <ac:chgData name="Aniket Chhabra" userId="598e0514-bef3-4e71-b6aa-f2edd6441cff" providerId="ADAL" clId="{7484DF33-0F7B-49AC-8D09-6AE0D3E7C41B}" dt="2021-09-25T09:10:37.546" v="233" actId="478"/>
          <ac:spMkLst>
            <pc:docMk/>
            <pc:sldMk cId="4036180272" sldId="293"/>
            <ac:spMk id="11" creationId="{AE9A0165-A9B2-4899-9257-84F50213D640}"/>
          </ac:spMkLst>
        </pc:spChg>
        <pc:graphicFrameChg chg="add mod ord modVis">
          <ac:chgData name="Aniket Chhabra" userId="598e0514-bef3-4e71-b6aa-f2edd6441cff" providerId="ADAL" clId="{7484DF33-0F7B-49AC-8D09-6AE0D3E7C41B}" dt="2021-09-25T09:09:54.268" v="225"/>
          <ac:graphicFrameMkLst>
            <pc:docMk/>
            <pc:sldMk cId="4036180272" sldId="293"/>
            <ac:graphicFrameMk id="7" creationId="{3022C293-706A-46C6-A084-36F07A0C290B}"/>
          </ac:graphicFrameMkLst>
        </pc:graphicFrameChg>
        <pc:picChg chg="add mod">
          <ac:chgData name="Aniket Chhabra" userId="598e0514-bef3-4e71-b6aa-f2edd6441cff" providerId="ADAL" clId="{7484DF33-0F7B-49AC-8D09-6AE0D3E7C41B}" dt="2021-09-25T09:14:22.024" v="237" actId="1036"/>
          <ac:picMkLst>
            <pc:docMk/>
            <pc:sldMk cId="4036180272" sldId="293"/>
            <ac:picMk id="5" creationId="{F9A9704A-5369-4E25-8EF3-8A07432665FC}"/>
          </ac:picMkLst>
        </pc:picChg>
      </pc:sldChg>
      <pc:sldChg chg="addSp delSp modSp new add mod">
        <pc:chgData name="Aniket Chhabra" userId="598e0514-bef3-4e71-b6aa-f2edd6441cff" providerId="ADAL" clId="{7484DF33-0F7B-49AC-8D09-6AE0D3E7C41B}" dt="2021-09-25T12:01:25.879" v="267"/>
        <pc:sldMkLst>
          <pc:docMk/>
          <pc:sldMk cId="2053045747" sldId="294"/>
        </pc:sldMkLst>
        <pc:spChg chg="add mod topLvl">
          <ac:chgData name="Aniket Chhabra" userId="598e0514-bef3-4e71-b6aa-f2edd6441cff" providerId="ADAL" clId="{7484DF33-0F7B-49AC-8D09-6AE0D3E7C41B}" dt="2021-09-25T09:23:04.005" v="248" actId="478"/>
          <ac:spMkLst>
            <pc:docMk/>
            <pc:sldMk cId="2053045747" sldId="294"/>
            <ac:spMk id="3" creationId="{FA1E0B62-322F-476F-934B-03EF738386A5}"/>
          </ac:spMkLst>
        </pc:spChg>
        <pc:grpChg chg="add del mod">
          <ac:chgData name="Aniket Chhabra" userId="598e0514-bef3-4e71-b6aa-f2edd6441cff" providerId="ADAL" clId="{7484DF33-0F7B-49AC-8D09-6AE0D3E7C41B}" dt="2021-09-25T09:23:04.005" v="248" actId="478"/>
          <ac:grpSpMkLst>
            <pc:docMk/>
            <pc:sldMk cId="2053045747" sldId="294"/>
            <ac:grpSpMk id="4" creationId="{A4196519-4E67-49FF-9C3B-5AA3D99B37E6}"/>
          </ac:grpSpMkLst>
        </pc:grpChg>
        <pc:grpChg chg="del mod">
          <ac:chgData name="Aniket Chhabra" userId="598e0514-bef3-4e71-b6aa-f2edd6441cff" providerId="ADAL" clId="{7484DF33-0F7B-49AC-8D09-6AE0D3E7C41B}" dt="2021-09-25T11:02:20.614" v="261"/>
          <ac:grpSpMkLst>
            <pc:docMk/>
            <pc:sldMk cId="2053045747" sldId="294"/>
            <ac:grpSpMk id="9" creationId="{E6379827-BD76-481F-92CD-A78701F18D92}"/>
          </ac:grpSpMkLst>
        </pc:grpChg>
        <pc:grpChg chg="mod">
          <ac:chgData name="Aniket Chhabra" userId="598e0514-bef3-4e71-b6aa-f2edd6441cff" providerId="ADAL" clId="{7484DF33-0F7B-49AC-8D09-6AE0D3E7C41B}" dt="2021-09-25T11:02:20.614" v="261"/>
          <ac:grpSpMkLst>
            <pc:docMk/>
            <pc:sldMk cId="2053045747" sldId="294"/>
            <ac:grpSpMk id="12" creationId="{8BC0EC99-D709-4A61-A175-97807ADC3FC3}"/>
          </ac:grpSpMkLst>
        </pc:grpChg>
        <pc:grpChg chg="mod">
          <ac:chgData name="Aniket Chhabra" userId="598e0514-bef3-4e71-b6aa-f2edd6441cff" providerId="ADAL" clId="{7484DF33-0F7B-49AC-8D09-6AE0D3E7C41B}" dt="2021-09-25T11:02:22.231" v="263"/>
          <ac:grpSpMkLst>
            <pc:docMk/>
            <pc:sldMk cId="2053045747" sldId="294"/>
            <ac:grpSpMk id="14" creationId="{D58669BA-C845-4175-AB7D-CFDCD7186740}"/>
          </ac:grpSpMkLst>
        </pc:grpChg>
        <pc:grpChg chg="mod">
          <ac:chgData name="Aniket Chhabra" userId="598e0514-bef3-4e71-b6aa-f2edd6441cff" providerId="ADAL" clId="{7484DF33-0F7B-49AC-8D09-6AE0D3E7C41B}" dt="2021-09-25T11:06:40.735" v="266"/>
          <ac:grpSpMkLst>
            <pc:docMk/>
            <pc:sldMk cId="2053045747" sldId="294"/>
            <ac:grpSpMk id="17" creationId="{824C7355-E59A-452D-9F81-9A81EEEAC86A}"/>
          </ac:grpSpMkLst>
        </pc:grpChg>
        <pc:picChg chg="add del mod topLvl">
          <ac:chgData name="Aniket Chhabra" userId="598e0514-bef3-4e71-b6aa-f2edd6441cff" providerId="ADAL" clId="{7484DF33-0F7B-49AC-8D09-6AE0D3E7C41B}" dt="2021-09-25T09:23:04.005" v="248" actId="478"/>
          <ac:picMkLst>
            <pc:docMk/>
            <pc:sldMk cId="2053045747" sldId="294"/>
            <ac:picMk id="2" creationId="{4F72838B-6805-47FC-8152-0B69D3D16C45}"/>
          </ac:picMkLst>
        </pc:picChg>
        <pc:picChg chg="add mod">
          <ac:chgData name="Aniket Chhabra" userId="598e0514-bef3-4e71-b6aa-f2edd6441cff" providerId="ADAL" clId="{7484DF33-0F7B-49AC-8D09-6AE0D3E7C41B}" dt="2021-09-25T09:23:08.582" v="253" actId="1076"/>
          <ac:picMkLst>
            <pc:docMk/>
            <pc:sldMk cId="2053045747" sldId="294"/>
            <ac:picMk id="6" creationId="{16F770CC-3AF4-47BE-BB22-404E6F85A420}"/>
          </ac:picMkLst>
        </pc:picChg>
        <pc:inkChg chg="add mod">
          <ac:chgData name="Aniket Chhabra" userId="598e0514-bef3-4e71-b6aa-f2edd6441cff" providerId="ADAL" clId="{7484DF33-0F7B-49AC-8D09-6AE0D3E7C41B}" dt="2021-09-25T11:02:20.614" v="261"/>
          <ac:inkMkLst>
            <pc:docMk/>
            <pc:sldMk cId="2053045747" sldId="294"/>
            <ac:inkMk id="7" creationId="{3FF1E5BD-1220-4D44-87D0-A4E0AA8EBE1F}"/>
          </ac:inkMkLst>
        </pc:inkChg>
        <pc:inkChg chg="add mod">
          <ac:chgData name="Aniket Chhabra" userId="598e0514-bef3-4e71-b6aa-f2edd6441cff" providerId="ADAL" clId="{7484DF33-0F7B-49AC-8D09-6AE0D3E7C41B}" dt="2021-09-25T11:02:20.614" v="261"/>
          <ac:inkMkLst>
            <pc:docMk/>
            <pc:sldMk cId="2053045747" sldId="294"/>
            <ac:inkMk id="8" creationId="{5294920B-080C-4996-AFBD-5B6BE66D966B}"/>
          </ac:inkMkLst>
        </pc:inkChg>
        <pc:inkChg chg="add mod">
          <ac:chgData name="Aniket Chhabra" userId="598e0514-bef3-4e71-b6aa-f2edd6441cff" providerId="ADAL" clId="{7484DF33-0F7B-49AC-8D09-6AE0D3E7C41B}" dt="2021-09-25T11:02:20.614" v="261"/>
          <ac:inkMkLst>
            <pc:docMk/>
            <pc:sldMk cId="2053045747" sldId="294"/>
            <ac:inkMk id="10" creationId="{AF5ADD14-C2F6-437C-B6B0-A2D58959C31B}"/>
          </ac:inkMkLst>
        </pc:inkChg>
        <pc:inkChg chg="add mod">
          <ac:chgData name="Aniket Chhabra" userId="598e0514-bef3-4e71-b6aa-f2edd6441cff" providerId="ADAL" clId="{7484DF33-0F7B-49AC-8D09-6AE0D3E7C41B}" dt="2021-09-25T11:02:22.231" v="263"/>
          <ac:inkMkLst>
            <pc:docMk/>
            <pc:sldMk cId="2053045747" sldId="294"/>
            <ac:inkMk id="11" creationId="{6A75C7CB-B139-4064-A2AC-30B27DEAB8DB}"/>
          </ac:inkMkLst>
        </pc:inkChg>
        <pc:inkChg chg="add mod">
          <ac:chgData name="Aniket Chhabra" userId="598e0514-bef3-4e71-b6aa-f2edd6441cff" providerId="ADAL" clId="{7484DF33-0F7B-49AC-8D09-6AE0D3E7C41B}" dt="2021-09-25T11:02:22.231" v="263"/>
          <ac:inkMkLst>
            <pc:docMk/>
            <pc:sldMk cId="2053045747" sldId="294"/>
            <ac:inkMk id="13" creationId="{8DF07CC8-4BBE-44E6-BE08-0EDFC575759C}"/>
          </ac:inkMkLst>
        </pc:inkChg>
        <pc:inkChg chg="add mod">
          <ac:chgData name="Aniket Chhabra" userId="598e0514-bef3-4e71-b6aa-f2edd6441cff" providerId="ADAL" clId="{7484DF33-0F7B-49AC-8D09-6AE0D3E7C41B}" dt="2021-09-25T11:06:40.735" v="266"/>
          <ac:inkMkLst>
            <pc:docMk/>
            <pc:sldMk cId="2053045747" sldId="294"/>
            <ac:inkMk id="15" creationId="{43E17AC2-75BD-4A18-B5CC-FC5858BC825B}"/>
          </ac:inkMkLst>
        </pc:inkChg>
        <pc:inkChg chg="add mod">
          <ac:chgData name="Aniket Chhabra" userId="598e0514-bef3-4e71-b6aa-f2edd6441cff" providerId="ADAL" clId="{7484DF33-0F7B-49AC-8D09-6AE0D3E7C41B}" dt="2021-09-25T11:06:40.735" v="266"/>
          <ac:inkMkLst>
            <pc:docMk/>
            <pc:sldMk cId="2053045747" sldId="294"/>
            <ac:inkMk id="16" creationId="{6CB2C2F6-B04C-4815-8642-0D9C0FEA2077}"/>
          </ac:inkMkLst>
        </pc:inkChg>
        <pc:inkChg chg="add">
          <ac:chgData name="Aniket Chhabra" userId="598e0514-bef3-4e71-b6aa-f2edd6441cff" providerId="ADAL" clId="{7484DF33-0F7B-49AC-8D09-6AE0D3E7C41B}" dt="2021-09-25T12:01:25.879" v="267"/>
          <ac:inkMkLst>
            <pc:docMk/>
            <pc:sldMk cId="2053045747" sldId="294"/>
            <ac:inkMk id="18" creationId="{8FFF74DC-288D-474F-9DE3-9D344956BBB1}"/>
          </ac:inkMkLst>
        </pc:inkChg>
      </pc:sldChg>
      <pc:sldMasterChg chg="addSp modSp mod">
        <pc:chgData name="Aniket Chhabra" userId="598e0514-bef3-4e71-b6aa-f2edd6441cff" providerId="ADAL" clId="{7484DF33-0F7B-49AC-8D09-6AE0D3E7C41B}" dt="2021-09-25T09:09:46.762" v="120"/>
        <pc:sldMasterMkLst>
          <pc:docMk/>
          <pc:sldMasterMk cId="0" sldId="2147483648"/>
        </pc:sldMasterMkLst>
        <pc:graphicFrameChg chg="add mod ord modVis">
          <ac:chgData name="Aniket Chhabra" userId="598e0514-bef3-4e71-b6aa-f2edd6441cff" providerId="ADAL" clId="{7484DF33-0F7B-49AC-8D09-6AE0D3E7C41B}" dt="2021-09-25T09:09:46.762" v="120"/>
          <ac:graphicFrameMkLst>
            <pc:docMk/>
            <pc:sldMasterMk cId="0" sldId="2147483648"/>
            <ac:graphicFrameMk id="2" creationId="{6430A196-2297-42A4-BA44-6CCA6F2885DF}"/>
          </ac:graphicFrameMkLst>
        </pc:graphicFrameChg>
      </pc:sldMasterChg>
      <pc:sldMasterChg chg="addSp modSp mod">
        <pc:chgData name="Aniket Chhabra" userId="598e0514-bef3-4e71-b6aa-f2edd6441cff" providerId="ADAL" clId="{7484DF33-0F7B-49AC-8D09-6AE0D3E7C41B}" dt="2021-09-25T09:09:46.711" v="88"/>
        <pc:sldMasterMkLst>
          <pc:docMk/>
          <pc:sldMasterMk cId="0" sldId="2147483654"/>
        </pc:sldMasterMkLst>
        <pc:graphicFrameChg chg="add mod ord modVis">
          <ac:chgData name="Aniket Chhabra" userId="598e0514-bef3-4e71-b6aa-f2edd6441cff" providerId="ADAL" clId="{7484DF33-0F7B-49AC-8D09-6AE0D3E7C41B}" dt="2021-09-25T09:09:46.711" v="88"/>
          <ac:graphicFrameMkLst>
            <pc:docMk/>
            <pc:sldMasterMk cId="0" sldId="2147483654"/>
            <ac:graphicFrameMk id="2" creationId="{A13800A3-234E-4519-A56D-580267A984CF}"/>
          </ac:graphicFrameMkLst>
        </pc:graphicFrameChg>
      </pc:sldMasterChg>
      <pc:sldMasterChg chg="addSp modSp mod">
        <pc:chgData name="Aniket Chhabra" userId="598e0514-bef3-4e71-b6aa-f2edd6441cff" providerId="ADAL" clId="{7484DF33-0F7B-49AC-8D09-6AE0D3E7C41B}" dt="2021-09-25T09:09:46.681" v="73"/>
        <pc:sldMasterMkLst>
          <pc:docMk/>
          <pc:sldMasterMk cId="0" sldId="2147483656"/>
        </pc:sldMasterMkLst>
        <pc:graphicFrameChg chg="add mod ord modVis">
          <ac:chgData name="Aniket Chhabra" userId="598e0514-bef3-4e71-b6aa-f2edd6441cff" providerId="ADAL" clId="{7484DF33-0F7B-49AC-8D09-6AE0D3E7C41B}" dt="2021-09-25T09:09:46.681" v="73"/>
          <ac:graphicFrameMkLst>
            <pc:docMk/>
            <pc:sldMasterMk cId="0" sldId="2147483656"/>
            <ac:graphicFrameMk id="2" creationId="{B2252A81-FC6B-4553-BFF4-CDA0FA19BDE9}"/>
          </ac:graphicFrameMkLst>
        </pc:graphicFrame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9-25T10:08:15.565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245 8707 58 0,'0'0'331'0,"0"0"-74"16,-7 6-50-16,7-6-29 0,0 0-13 0,-5 7-11 15,5-7-28-15,0 0-12 0,-7 5-9 0,7-5-5 16,0 0 0-16,-5 6-7 0,5-6-2 0,0 0-4 16,-4 7-9-16,4-7-7 0,0 0-11 0,0 0 12 15,-4 3-26-15,4-3-1 0,0 0 5 0,0 0 34 16,5 5 7-16,-5-5-15 0,0 0-14 0,15-1-13 16,-15 1-7-16,16-3-5 0,-6 1-4 0,0 0-6 15,-1-3-1-15,6 0-12 0,-2-1 3 0,0-1-3 16,2-1-2-16,4 0-7 0,-3-2-27 0,3 0 43 0,-2 0-35 15,2 0 29-15,-3-2-34 0,2 1 34 16,1 1-30-16,-3-2 31 0,0-1-30 0,2 2 28 0,-1-4-29 16,-2 2 31-16,2 1-32 0,-2-1 33 0,2-2-28 15,-2 2 26-15,2-1-26 0,-2 0-5 0,3-1 4 16,-3 0 2-16,2 0 2 0,1 1 31 0,0-3-30 16,1 0 26-16,-4 1-36 0,2 3 34 0,-2-1-29 15,2 0 30-15,-2-1-3 0,2 2-10 0,-3-2 0 16,2 0 3-16,-2 0-8 0,2 1 2 0,-2-1 2 15,1 1-3-15,1-1 1 0,0 0 6 0,-2 1 0 16,1-1 4-16,1-1-3 0,-1 1-1 0,1 0-2 16,-1-1-10-16,1-2 13 0,1 2-4 0,0-2-1 15,-1-1-3-15,2 1 5 0,-4 2 0 0,0-1-1 16,2 1-1-16,-2 0 1 0,1 1-1 0,-3 0 0 16,-1 0 1-16,0 0-5 0,1 1 1 0,-2 2-19 15,-1 0 0-15,0 0 27 0,1 2 1 0,-2-2 0 16,0 3-28-16,-1-2 28 0,2 2-28 0,0 0 28 15,0 0-27-15,-4 0 27 0,4 3-24 0,-2-1 20 0,-2-1-20 16,1 4 27-16,-2-1-34 0,2-2 35 16,-6 7-25-16,7-7 21 0,-7 7-24 0,6-5 28 15,-6 5-28-15,5-7-1 0,-5 7 6 0,4-4 27 0,-4 4-29 16,0 0 25-16,8-6-28 0,-8 6 31 0,0 0-32 16,0 0 30-16,5-6-17 0,-5 6 11 15,0 0-25-15,0 0 29 0,0 0-26 0,0 0 29 0,0 0-30 16,0 0 28-16,0 0-27 0,6 3 30 0,-6-3-6 15,0 0-3-15,-5 7-4 0,5-7 6 0,-5 8-4 16,-1-3-3-16,2-1 4 0,-4 1-6 0,2 0-1 16,-1 1 2-16,-3 0 1 0,1-2-6 0,0 4 6 15,-3-1 0-15,1 2-3 0,-2-1-1 0,1 1 0 16,-1-1-5-16,0 0 4 0,-1 2 4 0,0 0 1 16,1-1-2-16,-2-1 0 0,3 2-2 0,-1-3 3 15,1 3-4-15,-1-2 3 0,-1 1 2 0,2-2-2 16,1 1 1-16,-2 1-3 0,2-1 3 0,-2 0-12 15,3-1 12-15,-2 2 3 0,-2-2-1 0,4 2-3 0,-2-2 0 16,-2 0 0-16,3 0 2 0,-2 0-3 16,3 0 2-16,-1-2-2 0,0 1 1 0,2-1 0 0,0 0-4 15,-1 0 6-15,1-1-2 16,3 0 2-16,-1 0-1 0,7-4 1 0,-11 6 3 0,11-6-6 0,-9 4 7 16,9-4-5-16,-8 3-2 0,8-3 3 0,0 0-3 15,0 0 0-15,0 0-4 0,0 0 6 16,3-6 0-16,-3 6-2 0,9-7-3 0,-3 2 6 0,4 0-4 15,-1-1-2-15,2-1 5 0,1 0 0 0,0-1-2 16,2 0-1-16,0-1 2 0,0-1-25 0,4-1 25 16,0 2 8-16,-2-1-5 0,2 0 0 0,0-1-2 15,1 3 0-15,-1-3-4 0,0 4-6 0,0-2 11 16,-4 1-2-16,1 3-1 0,-3-2-3 0,-2 2 4 16,3 2-3-16,-3-2 5 0,-1 3-3 0,4-1 2 15,-4 1 1-15,-9 2 0 0,16-1 0 0,-16 1 7 16,18 1 11-16,-10 1 14 0,1 2-6 0,0 0-2 15,-3 0-7-15,4 1 5 0,-3 4 0 0,-1-2 29 16,3 3-8-16,-1 0-6 0,-2 3 8 0,-1 1 1 0,0 0-6 16,-1 1 8-16,0 2-7 0,-1 0-4 15,-2 1 2-15,3-1 14 0,-4 1-14 0,-2-1 5 16,0 0-13-16,-1 0 8 0,1-1-12 0,-2 0 4 0,0-1-14 16,0 0 7-16,-1-2-13 0,1 1 0 0,-2-4-3 15,2 0-4-15,2-1-1 0,-2-1-15 16,1-1-50-16,1 0-35 0,2-7-75 0,-6 10-48 15,6-10-111-15,-3 5-33 0,3-5-82 0,0 0-413 0,0 0-404 16</inkml:trace>
  <inkml:trace contextRef="#ctx0" brushRef="#br0" timeOffset="889.28">13325 8394 287 0,'0'0'303'0,"0"-12"-75"16,0 12 23-16,0-10-57 0,0 10-14 15,0-8-63-15,0 8 0 0,0 0-52 0,0 0 13 0,0-7-35 16,0 7 41-16,-2 6-44 0,2-6 27 0,-4 9-36 15,4 0 37-15,-1 0-35 0,-1 3 30 0,1 0-1 16,1 0-13-16,0 3-1 0,0 3 2 0,-1-2-7 16,0 4-4-16,-1-1-7 0,1 0-1 0,-2 1-3 15,1-1-8-15,-1 2-2 0,1 1-1 0,-1-3 1 16,-1 1-3-16,-1-2 14 0,4 2-16 0,-3-4 33 16,2 2-42-16,-2-2 38 0,0 1-36 0,0-3 28 15,0 1-29-15,0-1 53 0,-2-1-32 0,2-1 32 16,3-1-29-16,-3 0 18 0,3-3-32 0,-2 2 21 15,3-3-34-15,-2 0 25 0,2 1-26 0,-2-3 22 16,2-5-14-16,4 12 44 0,-4-12-27 0,9 5 20 16,-9-5-33-16,17 4 22 0,-7-3-25 0,0 0 23 15,4-1-19-15,-1 0 23 0,1 0-32 0,2-1 23 0,3 0-13 16,0 0 10-16,-1 0-19 0,1-2 18 16,-1 2-21-16,1 0 17 0,-1-1-20 0,-2 0 20 15,2-1-24-15,-5 1 20 0,-1 1-21 0,-1 0 18 0,-11 1-17 16,18-3 19-16,-18 3-15 0,17-1 22 0,-17 1-20 15,11-2 16-15,-11 2-20 0,0 0 13 16,10-1-60-16,-10 1-34 0,0 0-72 0,0 0-27 16,0 0-125-16,0 0-90 0,0 0-409 0,-10 1-338 0</inkml:trace>
  <inkml:trace contextRef="#ctx0" brushRef="#br0" timeOffset="12419.18">14157 7023 175 0,'0'0'178'0,"-14"1"16"16,14-1-67-16,-14 4 11 0,14-4-49 0,-14 4 39 15,14-4-44-15,-13 3 34 0,13-3-26 0,-14 5 20 16,14-5-47-16,-11 5 25 0,11-5-30 0,-12 7 33 16,5-3-42-16,2 0 37 0,-2 1-34 0,1 0 23 15,-1 1-33-15,-2-1 20 0,4 2-24 0,-1-2 27 16,-1 2-30-16,2 0 13 0,-1-1-31 0,2 1 30 0,-2 1-16 16,2-1-5-16,-1 0 2 0,1 1 3 0,0 1-7 15,-1-1 18-15,1 2-5 0,2-1-22 16,-1 2 17-16,-1-1 0 0,4 1-2 15,-2-1-8-15,0 2-2 0,1 0-3 0,1 0-1 0,-1 2 1 0,-1-1-4 16,1-1-3-16,1 2 17 0,0 1-34 0,0-2 35 16,0 0-38-16,0 1 42 0,-1 2-39 15,1-1 49-15,1-3-29 0,-1 4-4 0,0 0 10 0,0 1 37 16,0 0-32-16,0-1 21 0,3 0-38 0,-2-1 30 16,-1 2-30-16,3 0 32 0,-1-1-31 0,2 1 21 15,-1-2-11-15,1 0 20 0,2 0-1 0,-1-1-4 16,0 2-4-16,3-1 1 0,-2-2 13 0,4 1-1 15,-1 1-9-15,0-3-6 0,-1-1 5 0,6 4-7 16,-4-3-4-16,3 0-4 0,1 1-1 0,-4-2-2 0,6 1 4 16,-1 0-8-16,1-1-7 0,1-1 4 0,0 2 3 15,-1-2-3-15,1 1-3 0,1 0 1 16,-1 0-2-16,-1-2-13 0,2 1 14 0,1 0-7 16,-2-1 8-16,-2 0 6 0,2 0-17 0,-2-3 15 0,2 2 1 15,-2-2-1-15,2 1 1 0,-2 0 1 16,3-3 3-16,-1 1 0 0,-1 0-2 0,2 0-3 0,0-2 1 15,0 1-1-15,-2-2 6 0,2 1-1 0,0-1-2 16,0 0-2-16,-1-1 6 0,-1-1 0 0,1-1-3 16,1-1-3-16,0 0 2 0,-2-1 1 0,2 1 2 15,-2-2 16-15,1 1 8 0,-1-3-7 16,2 1-6-16,-3-1 5 0,0-1 10 0,-1 1 2 0,2-1-8 16,-2-3-4-16,1 2 3 0,-2-2-7 0,1 0 0 15,-4-1-8-15,2 2 1 0,-1-3-9 0,1 0 2 16,-3 1 2-16,1-1 1 0,-1 0 5 0,-1 0 1 15,0 0 3-15,-1-1 1 0,-1 1 6 0,1-1-1 16,-1 0 3-16,2-2-12 0,-3 2 2 0,0-3 1 16,-1 0-8-16,0 3 0 0,-1-3-2 0,0 0-1 15,3-1-6-15,-3 0-2 0,-1 1-5 0,2-1 18 16,-1 0-26-16,-2 1 25 0,2-1-16 0,-2-1 9 16,0 1-13-16,-2-1 11 0,0 0-18 0,-1 0 17 0,0-1-13 15,-1-1 3-15,-2 0-2 16,1 0-1-16,-2-2 2 0,0 1 8 0,-1 1-1 0,-1 0-10 15,1-1 9-15,-2 2 3 0,0-1-5 0,-1 0-1 16,-2 1 2-16,3 1 3 0,-2-1-11 0,-2 1 8 0,0 1-3 16,0-1 1-16,1 0 9 0,-1 1-10 0,-1 2 10 15,0 0-16-15,-3 0 14 0,4 0-15 0,-5 3 18 16,4 1-23-16,-4-3 22 0,3 3-16 0,-3 1 14 16,-1 0-15-16,2 1 17 0,0 0-16 0,1 2 14 15,0 0-15-15,0 0 16 0,-3 3-16 0,4-1 14 16,-3 0-17-16,0 0 17 0,1 3-16 0,0 0 17 15,-2-1-19-15,2 2 17 0,-4 1-13 0,2 1 18 16,-1 2-27-16,-3 1 21 0,1 1-18 0,-1 1 0 16,0 1-27-16,-1 1-43 0,3 2-38 0,-4 3-67 15,2 0-58-15,1 1-76 0,5-1-88 0,-2 2-76 16,6-2-551-16,-2 1-651 0</inkml:trace>
  <inkml:trace contextRef="#ctx0" brushRef="#br0" timeOffset="25401.3">14409 7549 312 0,'0'0'414'0,"0"0"-43"0,0 0-44 0,0 7-37 0,0-7-18 16,0 0 4-16,0 0-31 0,0 0-23 0,0 0-22 15,0 0-24-15,0 0-23 0,0 0-18 16,0 0-4-16,0 0 4 0,0 0 3 0,0 0-8 0,-3-6-10 16,3 6-17-16,0 0-11 0,0 0-13 0,0 0-10 15,0 0-14-15,0 0-10 0,0 0-10 0,0 0-7 16,0 0-6-16,0 0 0 0,0 0-5 0,0 0-5 15,0 0-6-15,0 0-3 0,0 0 1 0,0 0-2 16,0 0 1-16,0 0 0 0,0 0-2 0,0 0 1 16,0 0 2-16,2-6-1 0,-2 6 1 0,0 0 0 15,0 0 0-15,0 0-6 0,0 0-3 0,0 0 7 16,0 0-4-16,0 0-3 0,0 0-2 0,0 0-2 16,0 0-15-16,0 0 2 0,0 0 6 0,0 0 2 15,0 0 1-15,-3 9 7 0,-1-4-1 0,-3 1 3 0,2 3 0 16,-2-2 5-16,1 2-4 0,-1-1 6 15,0-1-4-15,2 2 2 0,-1-4-6 0,1 3 9 16,1-2-9-16,1-3 10 0,3-3-8 0,-8 10 10 0,8-10-4 16,-4 7 9-16,4-7-3 0,0 0 7 0,0 0 1 15,0 0 1-15,0 0-2 0,0 0-6 0,12-2-2 16,-12 2 1-16,7-7-3 0,-7 7 2 16,8-8 1-16,-8 8-4 0,7-7-1 0,-7 7 2 0,5-7 7 15,-5 7 10-15,6-6 3 0,-6 6-2 0,0 0-7 16,4-6-4-16,-4 6-1 0,0 0-4 15,0 0-4-15,0 0 0 0,0 0 1 0,0 0-4 0,-14 1 1 16,14-1-1-16,0 0-6 0,-9 4-5 0,9-4-18 16,-8 2-14-16,8-2-16 0,0 0-2 0,-6 4-25 15,6-4 0-15,0 0-16 0,-8 5 17 0,8-5-3 16,0 0 31-16,0 0-3 0,-6 3 24 0,6-3-4 16,0 0 23-16,0 0-8 0,0 0 20 0,0 0-15 15,0 0 17-15,-7 4-10 0,7-4 11 0,0 0-7 16,0 0 22-16,0 0-9 0,0 0 21 0,0 0-11 15,0 0 13-15,0 0-12 0,0 0 15 0,0 0-15 16,0 0 14-16,0 0-12 0,0 0 13 0,0 0-11 16,0 0 10-16,0 0-8 0,0 0 4 0,0 0-15 0,0 0 13 15,0 0-16-15,0 0 10 0,0 0-14 16,0 0 9-16,0 0-11 0,3-6 13 0,-3 6-14 16,0 0 1-16,0 0-3 0,6-6 4 0,-6 6-2 0,0 0 1 15,4-5-1-15,-4 5 2 0,0 0 0 0,4-8-2 16,-4 8 3-16,0 0-3 0,4-8 1 0,-4 8-2 15,0 0 2-15,0 0-3 0,0-8-1 16,0 8-16-16,0 0-45 0,-5-5-29 0,5 5-35 0,0 0-49 16,0 0-81-16,0 0-88 0,-12 2-98 0,12-2-452 15,-2 4-457-15</inkml:trace>
  <inkml:trace contextRef="#ctx0" brushRef="#br0" timeOffset="33075.42">17407 8885 76 0,'0'0'168'0,"0"0"-28"15,0 0-21-15,0 0-19 0,0 0-14 0,4-5-10 16,-4 5-3-16,0 0-9 0,0 0-4 0,0 0 7 16,0 0-19-16,0 0 0 0,6-5-3 0,-6 5 3 15,0 0-3-15,0 0-3 0,0 0 1 0,0 0 2 16,0 0 7-16,0 0 0 0,0 0 1 0,3-6-1 15,-3 6 9-15,0 0 7 0,0 0-5 0,0 0 1 16,0 0-1-16,0 0-2 0,0 0-5 0,0 0-6 16,0 0-4-16,0 0-12 0,0 0-8 0,0 0-5 15,1-7-6-15,-1 7 2 0,0 0-5 0,0 0 0 16,0 0-8-16,0 0-2 0,0 0 4 0,0 0 10 16,0 0-20-16,0 0 51 0,0 0-36 0,0 0 34 0,0 0-31 15,-2 9 39-15,2-9-32 0,0 0 39 0,0 0-41 16,-4 5 34-16,4-5-45 0,0 0 32 0,0 0-41 15,-1 6 35-15,1-6-37 0,0 0 32 0,0 0-25 16,0 0 36-16,0 0-30 0,0 0 46 0,0 0-24 16,0 0 23-16,5 6-32 0,-5-6 23 0,0 0-38 15,0 0 35-15,6-5-25 0,-6 5 35 0,0 0-24 16,0 0 23-16,5-4-28 0,-5 4 18 0,0 0-27 16,4-5 22-16,-4 5-12 0,0 0 22 0,0 0-17 15,4-5 15-15,-4 5-25 0,0 0 20 0,0 0-25 16,0 0 12-16,0 0-23 0,1-7 15 0,-1 7-24 15,0 0 18-15,0 0-21 0,0 0 19 0,-5 6-21 16,5-6 20-16,-4 7-16 0,4-7 17 0,-4 10-22 16,4-10 18-16,-4 8-15 0,4-8 10 0,-2 11-12 15,2-11 20-15,-3 11-20 0,3-11 18 0,0 10-18 16,0-10 17-16,0 7-18 0,0-7 23 0,3 8-20 16,-3-8 22-16,4 5-11 0,-4-5 21 0,0 0-21 15,7 5 18-15,-7-5-4 0,0 0 26 0,12-1-20 0,-12 1 16 16,9-3-16-16,-9 3 6 0,9-4-16 0,-9 4 12 15,8-8-14-15,-8 8 7 0,6-6-6 16,-6 6 12-16,6-7 10 0,-6 7 20 0,4-7-14 16,-4 7-1-16,3-6-16 0,-3 6 5 0,0 0-13 15,-2-8 5-15,2 8-11 0,0 0 5 0,-5-4-12 0,5 4 7 16,0 0-12-16,0 0-52 0,-10 2-74 0,10-2-48 16,-9 8-111-16,5-5-80 0,-1 2-173 0,1 0-294 15,-3 2-375-15</inkml:trace>
  <inkml:trace contextRef="#ctx0" brushRef="#br0" timeOffset="40542.93">17663 8564 30 0,'0'0'212'0,"0"0"-47"15,0 0-22-15,0 0-34 0,-4-6-3 0,4 6-33 0,0 0 0 16,0 0-23-16,0 0 6 0,-3-5-21 0,3 5 13 16,0 0-19-16,0 0 12 0,0 0-15 15,-2-7 19-15,2 7-21 0,0 0 14 0,0 0-16 16,0 0 15-16,-4-6-21 0,4 6 15 0,0 0-22 0,0 0 16 15,0 0-17-15,0 0 16 0,0 0-20 16,-1-5 25-16,1 5-15 0,0 0 22 0,0 0-22 0,0 0 21 16,0 0-22-16,0 0 20 0,0 0-23 0,-3-8 33 15,3 8-30-15,0 0 26 0,0 0-25 0,0 0 26 16,0 0-28-16,-2-5 26 0,2 5-27 0,0 0 22 16,0 0-28-16,0 0 30 0,0 0-27 15,0 0 26-15,0 0-30 0,0 0 34 0,-3-5-35 0,3 5 30 16,0 0-30-16,0 0 6 0,0 0 0 0,0 0 2 15,0 0 2-15,0 0-6 0,0 0 0 0,0 0-1 16,0 0 1-16,0 0-4 0,0 0-1 0,0 0 3 16,0 0-4-16,0 0-2 0,0 0 1 0,0 0 1 15,0 0-6-15,0 0 6 0,0 0-5 0,0 0 1 16,0 0-1-16,0 0-1 0,0 0 3 0,0 0 0 0,0 0 35 16,0 0-41-16,0 0 28 0,0 0-32 15,0 0 33-15,0 0-34 0,0 0 34 0,0 0-31 16,0 0 27-16,0 0-30 0,4-7 1 0,-4 7 30 15,0 0-33-15,0 0 4 0,0 0 36 0,0 0-37 0,0 0 31 16,0 0-33-16,0 0 7 0,0 0-3 0,0 0 34 16,0 0-12-16,0 0-24 0,0 0 3 15,0 0 1-15,0 0 33 0,0 0-25 0,0 0 16 0,0 0 4 16,0 0-4-16,0 0-1 0,0 0-1 0,0 0 2 16,0 0-5-16,0 0-1 0,0 0-3 0,1-6 2 15,-1 6-5-15,0 0-1 0,0 0 2 16,0 0-2-16,0 0 3 0,0 0-6 0,0 0 0 0,0-7 0 15,0 7 0-15,0 0-1 0,0 0 0 0,0 0 0 16,0 0-1-16,0 0-27 0,0 0-19 0,0 0-1 16,0 0-11-16,0 0 10 0,0 0-44 0,0 0-12 15,9-1-47-15,-9 1-20 0,0 0-58 0,0 0-196 16,8 4 104-16</inkml:trace>
  <inkml:trace contextRef="#ctx0" brushRef="#br0" timeOffset="40900">17725 8437 223 0,'0'0'307'0,"0"0"-54"0,0 0-52 0,0 0-39 16,-7-5-33-16,7 5-23 0,0 0-19 0,0 0-17 15,0 0-13-15,0 0-8 0,0 0-12 0,-4-4-11 16,4 4-5-16,0 0-21 0,0 0-31 0,0 0-23 16,0 0-38-16,0 0-43 0,0 0-65 0,5-6-187 15,-5 6 159-15</inkml:trace>
  <inkml:trace contextRef="#ctx0" brushRef="#br0" timeOffset="42444.23">17930 7285 145 0,'0'0'177'16,"0"0"6"-16,0 0-63 0,0 0 21 0,0 0-54 16,0 0 32-16,0 0-48 0,0 0 27 0,0 0-44 15,0 0 21-15,-7-5-47 0,7 5-1 0,0 0 17 16,0 0-42-16,0 0-6 0,0 0-67 0,0 0 7 16,0 0-88-16,0 0-188 0,2-6 201 0</inkml:trace>
  <inkml:trace contextRef="#ctx0" brushRef="#br0" timeOffset="42785.23">18016 6685 344 0,'0'0'283'0,"0"0"-97"0,0 0-39 0,-10 4-25 16,10-4-28-16,0 0 8 0,0 0-41 0,-7 4-24 16,7-4-8-16,0 0-49 0,0 0-35 0,0 0-28 15,-1 5-42-15,1-5-63 0,0 0-104 0,0 0 251 16</inkml:trace>
  <inkml:trace contextRef="#ctx0" brushRef="#br0" timeOffset="43024.36">18587 6399 346 0,'9'-5'284'0,"-9"5"-34"16,6-5-76-16,-6 5-5 0,0 0-66 0,8-4 5 15,-8 4-52-15,0 0 15 0,0 0-69 0,10-3 6 16,-10 3-71-16,0 0-26 0,6 5-99 0,-6-5-204 16,6 5 154-16</inkml:trace>
  <inkml:trace contextRef="#ctx0" brushRef="#br0" timeOffset="43497.41">18487 8157 219 0,'0'0'356'16,"0"9"-29"-16,0-9-62 0,0 7-7 0,0-7-70 16,0 0 3-16,0 8-74 0,0-8 8 0,0 0-56 15,0 0 18-15,3 7-51 0,-3-7 28 0,0 0-68 16,0 0-22-16,0 0-88 0,11-2-32 0,-11 2-67 15,8-4-348-15,-8 4-76 0</inkml:trace>
  <inkml:trace contextRef="#ctx0" brushRef="#br0" timeOffset="43878.04">19159 7260 119 0,'0'0'247'0,"0"0"-110"15,0 0 11-15,0 0-66 0,-10 3 14 0,10-3-53 16,-4 7-8-16,2 0-115 0,2-7-180 0,-7 9 81 16</inkml:trace>
  <inkml:trace contextRef="#ctx0" brushRef="#br0" timeOffset="44079.56">18693 8622 163 0,'2'10'148'0,"-2"-10"-105"0,0 0-164 15,0 0 41-15</inkml:trace>
  <inkml:trace contextRef="#ctx0" brushRef="#br0" timeOffset="44733.11">18556 5867 64 0,'-23'-4'166'0,"-2"0"-33"0,4 2-32 0,-4 0-20 16,0 1-17-16,2 1-11 0,-2 0-12 0,-1 1-8 16,-2 0-6-16,4 3-7 0,-3 1-10 0,1 1-14 15,-3 2-54-15,0 3 13 0,0 1-84 0,3 2-46 16,-1 1 48-16</inkml:trace>
  <inkml:trace contextRef="#ctx0" brushRef="#br0" timeOffset="44994.69">18087 8041 113 0,'28'34'151'0,"-1"-1"-37"0,9 6-16 0,0-3-24 16,-4-5-11-16,7 4-1 0,-3-8-25 0,5 5 4 16,-5-5-10-16,1-1 0 0,1 0-18 0,-1-2 9 15,3-2-17-15,-1 1 15 0,2-2-23 0,-2-2-7 16,-1 0 1-16,4-1-16 0,-5-1-18 0,4-2-12 15,-3-1-19-15,1-1-20 0,-7-2-83 0,0-1 49 16</inkml:trace>
  <inkml:trace contextRef="#ctx0" brushRef="#br0" timeOffset="45132.69">19355 8615 30 0,'19'-9'115'0,"0"-2"-1"16,3-3-36-16,2-2-2 0,-1 0-28 0,5-7 4 15,-1-1-20-15,1 0 7 0,2-5-10 0,-1 2 2 16,-2-6-23-16,1 1 13 0,5-8-17 0,-2-1-2 15,-4 5-6-15,2-7 7 0,-2-4-4 0,-3 0-36 16,-7 5-166-16,3-11 62 0</inkml:trace>
  <inkml:trace contextRef="#ctx0" brushRef="#br0" timeOffset="45861.85">19704 6904 8 0,'-27'-44'257'0,"-2"-3"-81"0,-1 1-11 0,-2 0-45 0,0 3 26 0,-2-3-43 15,-2 4 19-15,1 0-41 0,-3 5 31 0,9 4-41 16,-2 3 20-16,2 2-41 0,-1 0 20 0,5 2-37 0,-1 2 45 16,4 4-39-16,2 2 21 0,3 0-18 15,0 4 32-15,4 2-36 0,-3-2 23 0,6 4-37 16,0 1-4-16,0 0-7 0,2 0-3 0,2 3-5 16,-1-1 0-16,2 1-1 0,-1 1-3 0,1 1-2 15,5 4-4-15,-7-9 2 0,7 9 4 0,-6-5 21 0,6 5-27 16,-3-6 25-16,3 6-32 0,0 0 30 0,0 0-31 15,-4-5 23-15,4 5-20 0,0 0 22 0,0 0-28 16,0 0 28-16,0 0-30 0,0 0 32 16,0 0-30-16,0 0 31 0,0 0-33 0,0 0 29 0,0 0-26 15,0 0 27-15,0 0-25 0,0 0 17 0,0 0-17 16,0 0 27-16,0 0-27 0,0 0 29 0,0 0-27 16,0 0 25-16,0 0-27 0,0 0 21 0,0 0-22 15,0 0 31-15,0 0-28 0,0 0 28 0,0 0-33 16,0 0 30-16,0 0-30 0,0 0 28 0,0 0-28 15,0 0 30-15,0 0-27 0,0 0 22 0,0 0-29 16,0 0 32-16,3 7-31 0,-3-7 33 0,0 0-27 16,0 0 37-16,0 0-5 0,0 0 25 0,0 0-19 15,0 0 24-15,0 0-24 0,0 0 26 0,0 0-22 16,0 0-3-16,0 0 2 0,0 0-4 0,0 0-1 16,0 0-2-16,0 0-7 0,0 0-4 0,0 0-2 15,0 0-1-15,0 0-3 0,0 0-2 0,0 0 1 16,0 0-4-16,0 0 5 0,0 0-7 0,0 0-5 15,0 0 7-15,0 0-1 0,0 0-3 0,0 0 6 16,0 0-6-16,0 0 4 0,0 0 0 0,0 0-2 16,0 0-1-16,0 0 2 0,0 0 21 0,0 0-22 15,0 0 0-15,0 0-6 0,0 0 10 0,0 0 18 16,0 0-22-16,0 0 16 0,0 0-18 0,0 0 18 16,0 0-17-16,0 0 4 0,0 0-3 0,0 0 3 15,0 0 4-15,0 0-6 0,0 0 2 0,0 0 2 16,0 0-1-16,0 0 0 0,0 0 2 0,0 0-2 15,0 0 2-15,0 0 0 0,0 0-2 0,0 0 4 16,0 0 19-16,0 0 5 0,0 0 4 0,0 0 6 16,0 0-6-16,0 0 7 0,0 0 1 0,0 0-17 15,0 0-1-15,0 0 0 0,0 0-8 0,0 0 5 16,0 0-11-16,0 0 0 0,0 0-2 0,0 0-4 16,0 0 1-16,0 0 1 0,0 0-3 0,0 0-11 15,0 0-62-15,0 0-24 0,0 0 18 0,0 0-66 16,1 7-18-16,-1-7-95 0,0 5-60 0,0-5-237 15,1 10-68-15</inkml:trace>
  <inkml:trace contextRef="#ctx0" brushRef="#br0" timeOffset="50589.33">19456 6747 212 0,'0'0'187'16,"0"0"-13"-16,1-7-29 0,-1 7-30 0,0 0-17 0,-1-8 1 16,1 8-8-16,0 0-6 0,0 0-14 15,0-8-13-15,0 8-6 0,0 0-8 0,0 0-10 16,-3-7-9-16,3 7 3 0,0 0-11 0,0 0-4 15,0 0 1-15,-4-6-1 0,4 6-2 0,0 0 1 16,0 0-2-16,-6-5 14 0,6 5-1 0,0 0 2 0,0 0-9 16,-6-3-7-16,6 3 2 0,0 0-3 0,0 0-1 15,-12-1-3-15,12 1-2 0,0 0 4 0,-14 1-1 16,14-1-5-16,-11 2 0 0,11-2 0 16,-14 5 1-16,5-4 1 0,1 1 1 0,-2 1 2 0,-2 1-4 15,2-1-1-15,-4 2 4 0,1-1-1 16,0 0-3-16,-2 2-12 0,0 0 39 0,-2 0-46 0,2 1 27 15,-4 2-25-15,-1-2 23 0,1 1-21 16,0 1 26-16,-1 0-20 0,0 1 21 0,0 1-21 0,0 0 18 16,-1 0 0-16,1 0-2 0,-3 4-1 0,1-1 1 15,0 2-2-15,1-1-3 0,-1 2 16 0,1-1-18 16,0 2-2-16,1 0 4 0,1 0-1 0,-1 0 5 16,2 1-6-16,-1 0 0 0,2 0 16 0,-1 2-16 15,0-2-1-15,4 2 1 0,-4 0 2 0,4 0-2 16,-1 0 3-16,1 0 4 0,-1 0-2 0,2 2-5 15,1-1-21-15,-3 1 26 0,2-2-21 0,3-1 26 16,0 1-24-16,1-1 1 0,-1 0 4 0,1 2 2 16,1-1 1-16,0 0 3 0,-2 0 25 0,2 0-31 15,2 0 26-15,-2 1-25 0,1 2 28 0,2-1-22 16,-2 0 36-16,3 2-25 0,-2 3 28 0,0-3-13 0,1 5 18 16,1-5-29-16,1 2 27 0,-1 0-30 15,3-1 34-15,0 1-33 0,-2-1 43 0,3 3-21 16,1-2 8-16,1 2-11 0,0-2-2 0,2 4 7 0,1 0 1 15,-1-2-11-15,4 3 28 0,-2-2-19 16,2 2 11-16,-2-1-14 0,4 1 39 0,-1-2-42 16,3 6 21-16,-1 1-34 0,1-3 30 0,-1 0-3 15,3 1-8-15,-1-2 5 0,1 0-6 0,2-1-3 0,-1-1 17 16,-1-4-7-16,1 0-3 0,-1-1-4 0,4 3-9 16,-1-4-1-16,-2 0-4 0,4 3-42 0,3-1 49 15,0-1-43-15,-4-4 46 0,2 0-47 0,4 3 44 16,-2-5-44-16,-1 0 47 0,2-2-45 0,-2 0 2 15,2-1 5-15,2-2 4 0,-1 1 1 0,0-3 0 16,0 2 9-16,0-4-3 0,-3-1 43 0,1-2-51 16,-3 1 0-16,4-3 4 0,-1-2 3 0,-3 3-3 15,1-4-10-15,-1-2-12 0,1-1-8 0,-1 0 6 16,0-1 10-16,-1-1-5 0,1-2-3 0,-2-1 4 0,3-1 6 16,2-2-12-16,-3-3 7 0,2 0 34 15,0-2-40-15,1-2 42 0,1-2-41 0,-1-2 41 16,-2-2-3-16,5-3-6 0,-1-2-1 0,-1-2-5 15,0-2 5-15,-1 1-7 0,0-3 3 0,0-2 14 0,0 2 4 16,0-1-1-16,-2 0-7 0,-2-1 3 16,2 2-53-16,0-1 53 0,-2 1-45 0,-2-1 8 15,1 0 41-15,-1 0-6 0,-2 0 2 0,2 0-11 16,-2-3-1-16,0 0 0 0,-1-1-1 0,1 0 4 0,-3-2 29 16,1 0-34-16,-1-2 22 0,-2 0-32 0,0-2 28 15,1 1-35-15,-3 0 5 0,-2 0 2 16,-1-1 4-16,-2 6 3 0,-2 0-4 0,0 0 2 0,-5-6-8 15,-3 2 32-15,-3 2-35 0,-1 1 34 0,-2 0-33 16,-5 2 25-16,-1 0-1 0,-3 4-6 16,-4 1-1-16,-1 1-4 0,-3 2 4 0,-1 2-33 0,-1 2 34 15,-2 1-34-15,-3 1 40 0,0 4-38 0,-2 3 39 16,-2 0-32-16,2 3 31 0,-1 3-26 0,1 0-59 16,3 3 21-16,1 3-35 0,1 0-11 0,3 2-41 15,0 1-22-15,3 1-8 0,0 2-43 0,0-1-36 16,5-1-308-16,2 2-73 0</inkml:trace>
  <inkml:trace contextRef="#ctx0" brushRef="#br0" timeOffset="87533.36">17817 8258 26 0,'0'0'223'16,"0"0"-43"-16,4-6-24 0,-4 6-18 0,0 0-24 16,4-3-11-16,-4 3-10 0,0 0-2 0,4-6-11 0,-4 6-13 15,0 0-17-15,0 0-7 0,1-6-5 16,-1 6-10-16,0 0-9 0,0 0-7 0,0 0-2 16,0 0-6-16,0 0 0 0,4-5 4 0,-4 5-6 15,0 0 0-15,0 0-16 0,0 0-18 0,0 0-13 16,0 0-9-16,0 0-4 0,0 0-3 0,3 6-13 0,-3-6-6 15,0 0-8-15,0 0 1 0,0 0 10 16,0 0 13-16,0 0-3 0,0 0-7 0,5 4-12 0,-5-4 10 16,0 0 13-16,0 0 7 0,0 0 18 0,0 0 0 15,0 0 3-15,0 0-41 0,0 0 25 0</inkml:trace>
  <inkml:trace contextRef="#ctx0" brushRef="#br0" timeOffset="88923.2">19582 5939 150 0,'-9'-6'195'0,"-1"0"-49"16,1 1-24-16,0-1-4 0,0 0-21 16,-1 2-18-16,1-3 0 0,-1 3-16 0,-2-2-10 0,2-1-10 15,-2 0 0-15,1 3-16 0,0-1-4 0,-1 0-3 16,1 1-5-16,-3 0-5 0,2 1 0 0,-4-1-3 16,0 1-5-16,3 1 4 0,-4-1-5 0,-1 2 1 15,0 0 0-15,-1 0 1 0,1 1-3 16,-3 0-1-16,0 1 3 0,0 0-2 0,-1 0 4 0,1 0-5 15,-1 2 0-15,0-2 5 16,2 2-2-16,-4 1 2 0,0-1 0 0,0 0-5 0,0 1 2 16,1 0-1-16,2 0 0 0,-3 0 3 0,2 1-3 15,1 0 2-15,0 1-5 0,2-2-1 0,0 3-6 16,-2 0-2-16,1 0-31 0,2 1 32 0,-2 0-23 0,1 1 33 16,0 0-33-16,2 3 31 0,1-2-33 0,-2 2 32 15,4 0-28-15,0 0 29 0,3 3-27 16,-2-1 41-16,2 2-10 0,0 1 0 0,1-1-1 0,1 4 0 15,0-1 1-15,-1 0 0 0,4 1-1 0,-1 2-1 16,1 1 4-16,1-1-3 0,0 3 0 0,1 0 3 16,1 0-3-16,-1 0 1 0,2 1 1 0,-1-1-1 15,3 3 0-15,-1-1 4 0,0 0-5 16,3 2 4-16,-2-2 1 0,0 1-24 0,2 0 28 0,-1 3-29 16,1 3 36-16,2-3-29 0,0 3 30 0,2-2-37 15,1 1 39-15,-1 0-5 0,3 0 0 16,1 3-4-16,1-2-3 0,-1-3 4 0,1-1-5 0,1 1-2 15,1 1 5-15,3-2-4 0,-3-2-1 0,6 0 1 16,2 1-3-16,-5-6 1 0,7 2 6 0,0 2-7 16,-1-5-2-16,6 0-30 0,-5-3 40 0,5 0-31 15,4 1 37-15,-1-2-29 0,1-3 29 16,-3-1-31-16,2-3 43 0,0 1-30 0,0-3 44 0,0 0-25 16,1-3 33-16,0 1-37 0,-4-4 30 0,2 0-34 15,-2-2 42-15,0-1-35 0,0-3 38 0,-1 1-21 16,-3-3 30-16,3 0-35 0,-3-1 40 0,2-2-30 15,0-2 25-15,1-2-42 0,-4 0 28 0,2-2-27 0,0-2 28 16,-2-2-28-16,-2-1 24 0,4-4-38 16,-2-3 27-16,-1-2-33 0,-3-2 26 0,2-1-27 15,-6-1 32-15,3-2-16 0,-5-1 22 0,1 0-24 16,-5 6 14-16,-2-4 23 0,1 0-13 0,-2 1 13 0,-2-1-3 16,-1-2 4-16,-2 0-20 0,-1 0-4 15,-3 0-14-15,1-1 7 0,-5-3-15 0,-1-1 16 16,-1 1-8-16,-3 0 5 0,-2 1-8 0,1 1 4 15,-6-1-17-15,1 4 15 0,-2-3-13 0,-3 4 1 0,1 1 2 16,-4 2-3-16,1 0 6 0,-3 3-7 16,-3 2 3-16,2 2-1 0,-3 0 8 0,-1 3-10 15,-1 2-14-15,0 0-59 0,-1 3-21 0,-2 2-87 16,5 2-51-16,-1 3-105 0,1 1-211 0,-1 0-57 0</inkml:trace>
  <inkml:trace contextRef="#ctx0" brushRef="#br0" timeOffset="90158.17">17655 6989 228 0,'0'0'238'16,"-6"-5"-33"-16,6 5-19 0,-5-6-46 0,5 6 10 0,-4-7-33 16,4 7 6-16,-4-6-44 0,4 6 17 0,-3-6-46 15,3 6 17-15,-5-6-39 0,5 6 29 0,-2-7-18 16,2 7 16-16,0 0-38 0,-4-6 24 0,4 6-33 15,0 0 24-15,-4-6-32 0,4 6 14 0,0 0-22 16,0 0 19-16,-4-5-25 0,4 5 26 0,0 0-27 16,0 0 27-16,0 0-27 0,0 0 30 0,0 0-26 15,0 0 20-15,4 6-39 0,-4-6 26 0,9 5-24 16,0-2 29-16,-1 0-29 0,1 2 31 0,3 0-32 16,0 1 17-16,1 1-39 0,3 2 18 0,1-2-24 15,1 4 20-15,2-2-3 0,-2 2 1 0,4 1 2 16,2 0-2-16,0 1-7 0,-2 2-7 0,2-2-1 15,1 0-6-15,-1 2 1 0,-1-1-5 0,1-1 1 16,-1 0 1-16,0 2-7 0,-1-4 1 0,-2 3 5 16,1-2 16-16,-3 0-7 0,1 1 9 0,0 0 2 15,-1 0-38-15,0 0-14 0,0 1 10 0,0 0-46 16</inkml:trace>
  <inkml:trace contextRef="#ctx0" brushRef="#br0" timeOffset="91071.14">17814 9025 19 0,'-46'24'90'0,"3"-5"-128"15,-1-2 13-15</inkml:trace>
  <inkml:trace contextRef="#ctx0" brushRef="#br0" timeOffset="104926.87">11788 12594 68 0,'-9'-5'133'0,"9"5"-23"0,0 0-30 16,-8-3-21-16,8 3 9 0,0 0 12 0,-7-3-9 15,7 3-12-15,0 0-1 0,-8-3-11 0,8 3-4 16,0 0-8-16,0 0-5 0,-10-4-8 0,10 4-6 16,0 0 0-16,0 0-8 0,-8-3-3 0,8 3 1 15,0 0-1-15,0 0 0 0,-13 2-1 0,13-2 0 16,0 0-2-16,-13 5 0 0,13-5-2 0,-10 3 5 16,10-3 1-16,-9 5-3 0,9-5 3 0,-11 9-6 15,11-9 2-15,-12 7 0 0,6-3 5 0,-3 3-3 16,3 1 5-16,-1-1 20 0,-1 2-4 0,1-1 1 15,-1 4 8-15,-1 0-8 0,3 1 16 16,-1 1 5-16,1 1-30 0,1 1 26 0,-2 1-30 0,2 1 33 16,0 2-24-16,-1 1 7 0,2 1 6 0,2-1 29 15,-1 5-22-15,2-2 17 0,1 1-31 0,1 2 24 16,0-1-29-16,3 5 32 0,0 0-20 0,2 3 15 0,1-2-6 16,2 5-6-16,0 1-5 15,2-1-23-15,1 0 27 0,2 0-28 0,-2-1 27 0,5 0-13 16,-3 0 32-16,4-1-23 0,-1 0 3 0,2-1-2 15,0 1 2-15,3-1 13 0,1 0-2 0,0 0-1 16,0-1 1-16,2-2 4 0,2 0-3 0,1 0-8 16,-1-3 8-16,2 0-1 0,1-3 4 0,0 1-7 15,1-2 9-15,1-3-19 0,0-1 6 0,1 0-13 0,-1-2 2 16,1-2-8-16,2 0 21 0,-3-5-20 0,4 1 15 16,-4-2-14-16,0-1 17 0,2-1-16 15,-1-1 15-15,2-3-22 0,-2 1 27 0,3-2-14 16,-2-2 12-16,0-1-20 0,3-1 14 0,2-1-22 0,0-1 24 15,4-3-16-15,3-2 18 0,-1 0-20 0,-1-2 17 16,0 0-15-16,1-1 9 0,-2-1-14 16,-1-3 15-16,2 0-11 0,-3-1 14 0,-3 0-7 0,4-2 7 15,-5 0-4-15,0-1-2 0,-1 0 0 0,0-3 1 16,0 1-4-16,-3-2-6 0,-1 0-5 0,0-3-4 16,-3 0-4-16,0-3 0 0,1-2-8 0,-4-2 9 0,0-1-18 15,0-2 16-15,3-7-7 0,-4 6 4 16,-2-3 0-16,-3 1-2 0,-1-2-2 0,-1-1 4 15,0 1-2-15,0 1 1 0,-3 1 5 0,0 0-5 16,0 1 2-16,-5 1-4 0,0 0-2 0,-2 3 2 16,-4 2-3-16,-2-1 2 0,-2 0-5 0,-5-1 5 15,1 0-2-15,-5-4 3 0,-2-1-4 0,-2 0 2 0,-4 0-1 16,1 0 3-16,-2 1-2 0,-1-1 3 0,-4 1-2 16,0 1-2-16,-3 1-1 0,1 1-7 0,0 1 9 15,-4 1-7-15,-1 4 0 0,0-1-1 16,-2 3-4-16,-3 2 1 0,-3 1 4 0,0 1 1 0,-2 4-9 15,-3 0 2-15,-2 1-4 0,-1 1-14 0,-1 1 12 16,-3 2 4-16,1 2-19 0,-1-1 12 0,3 3-2 16,-3 1 0-16,3 0 5 0,2 1-15 0,-2 3 6 15,9 0-7-15,-1 1 10 0,-1 1-10 0,1 1 13 16,2 0-8-16,-1 4 9 0,0-1-5 0,0 1 14 16,1 2-4-16,0 1-6 0,1-1 5 0,-1 5-11 15,-4-1-2-15,3 3 2 0,5-1 5 0,-4 3 6 16,6-1-28-16,2 0 37 0,0 2-20 0,4-1 21 15,1 2-23-15,2-1 19 0,4 1-7 0,3-2 3 16,-1 0-10-16,3 1-7 0,2-1-9 0,3-2-12 16,2 1 13-16,1-2 1 0,2 0-6 0,-2-1 0 15,4 1-17-15,0-1-5 0,1 0-60 0,0 0-42 16,1-1-99-16,-1 1-71 0,1 1-143 0,2-1 29 16</inkml:trace>
  <inkml:trace contextRef="#ctx0" brushRef="#br0" timeOffset="-176577.24">17462 13118 98 0,'0'0'345'0,"0"-8"-70"0,0 8-42 0,0 0-29 16,0 0-27-16,0 0-24 0,1-7-18 16,-1 7-20-16,0 0-17 0,0 0-30 0,0 0-13 0,0 0-11 15,0 0-12-15,0 0-6 0,2-6-2 0,-2 6-10 16,0 0-3-16,0 0-7 0,0 0 1 15,0 0-3-15,0 0 6 0,0 0-2 0,0 0-6 0,0 0-7 16,0 0 8-16,0 0 1 0,0 0-1 0,0 0 4 16,0 0 6-16,0 0-2 0,0 0 27 0,0 0 24 15,0 0 13-15,0 0 8 0,0 0 0 0,0 0-16 16,0 0-14-16,4-5-13 0,-4 5-4 0,0 0-6 16,10-3-4-16,-10 3-10 0,6-4 2 0,-6 4 0 15,7-5-7-15,-7 5 5 0,5-5-6 0,-5 5 4 16,0 0-32-16,5-6 28 0,-5 6-7 0,0 0-3 15,0-7 3-15,0 7-30 0,-3-6 37 0,3 6-32 16,-7-3 29-16,7 3-27 0,-7-3 31 0,7 3-2 16,-10-2-2-16,10 2-1 0,0 0-1 0,-9-1-2 15,9 1 3-15,0 0-1 0,0 0-1 0,-13 1 6 0,13-1 0 16,0 0 0-16,-7 3 6 0,7-3 7 0,0 0 12 16,-4 6 7-16,4-6 4 0,0 0-12 15,1 9-3-15,-1-9-1 0,6 5-1 0,-6-5 0 0,7 3-7 16,-7-3-3-16,9 2 7 0,-9-2 4 15,10 3 4-15,-10-3 13 0,0 0 0 0,15 0-7 16,-15 0-4-16,0 0 1 0,13-3 1 0,-13 3-5 0,0 0-8 16,10-3-7-16,-10 3-6 0,0 0-4 0,0 0-2 15,-7-6 1-15,7 6-4 0,-9-3 3 0,9 3-5 16,-12-2 2-16,12 2-6 0,-14-1 2 0,14 1 1 16,-9 1-1-16,9-1 0 0,-10 2-1 0,10-2 2 15,0 0 5-15,-13 2 5 0,13-2 13 0,0 0 22 16,-8 2 16-16,8-2 7 0,0 0 7 0,0 0 0 15,0 0 7-15,0 0 4 0,0 0-11 0,0 0-8 16,3 6-12-16,-3-6-7 0,0 0-8 0,0 0-8 16,0 0-1-16,10-1-11 0,-10 1-2 0,0 0-79 15,0 0-87-15,0 0-90 0,0 0-107 0,0 0-68 0,0 0-75 16,0 0-361-16,0 0-399 0</inkml:trace>
  <inkml:trace contextRef="#ctx0" brushRef="#br0" timeOffset="-175592.83">17233 11904 201 0,'0'0'229'0,"-5"-7"-8"16,5 7-79-16,-2-5-7 0,2 5-51 0,0 0 12 15,-7-4-27-15,7 4 36 0,-5 4-21 0,5-4 10 16,-9 9-26-16,3 0 31 0,1 3-7 0,0 1-2 16,0 4-4-16,-2 2-6 0,1 5-6 15,-2 4-17-15,-1 2 39 0,1 7-35 0,-2 2 20 16,1 3-16-16,-1-1-12 0,0 5-4 0,-2-1-11 0,1-1 4 16,-2 0-8-16,2 1-4 0,0-3-2 0,-1-2-2 15,0 0-5-15,4-4-1 0,-2-6 2 16,1 0 8-16,3-5-41 0,-3-2 28 0,5-2-27 0,-2-1 36 15,1-5-38-15,1 1 34 0,0-3-28 0,1 0 31 16,-3-4-27-16,5 1 31 0,-2-2-20 0,1-2 7 16,-1 0-111-16,3-6-21 0,-4 6-67 0,4-6-65 0,0 0-72 15,0 0-290-15,-9-5-122 0</inkml:trace>
  <inkml:trace contextRef="#ctx0" brushRef="#br0" timeOffset="-175078.09">16209 12043 72 0,'2'6'270'0,"3"1"-50"15,0 2-26-15,4 3-10 0,5 3-24 16,7 6-12-16,7 4 0 0,1 3-8 0,11 7-11 16,2 1 13-16,0 2-13 0,3 0-14 0,1 0-9 0,-3 2-13 15,2-1-16-15,-3-2-10 0,-1 1-4 0,-4-2-17 16,-6-7-11-16,-2 2-5 0,-2-2 0 16,-3-1-8-16,1-3 1 0,-6-3-1 0,-1-1-4 0,0-1-7 15,-7-5 6-15,3-1-2 0,-1 1-29 0,-4-3 29 16,1-2-29-16,-2 1 37 0,0-4-35 0,-1 3 31 15,-2-3-31-15,2-1 31 0,-2 0-24 0,-1 0 29 16,-4-6-27-16,6 9 25 0,-6-9-26 0,9 7 33 16,-9-7-32-16,5 6 33 0,-5-6-38 0,5 6-23 15,-5-6-69-15,0 0-22 0,5 5-57 0,-5-5-73 16,0 0-85-16,0 0-228 0,0 0-80 0</inkml:trace>
  <inkml:trace contextRef="#ctx0" brushRef="#br0" timeOffset="-174413.86">17267 13102 170 0,'0'0'372'0,"10"-6"-50"15,-10 6-33-15,10-5-23 0,-10 5-43 0,10-6-19 0,-10 6-24 16,9-7-25-16,-9 7-19 0,7-6-59 0,-7 6 11 16,6-5-28-16,-6 5-13 0,0 0-12 0,0 0-8 15,0 0-1-15,0 0-1 0,0 0-7 0,-6 6-3 16,-3 0-4-16,-4 2-5 0,-2 1-1 0,-5 4 3 16,0 1 3-16,-7 3-6 0,-2 4-3 0,-5 1 1 15,-1 0-1-15,-5 2 0 0,2 0 2 16,-11 3-1-16,3 1-4 0,-2-3 0 0,7-3 21 0,0 0 18 15,-1-1 1-15,1 1 0 0,1-3 6 0,2 0 6 16,0-1-7-16,4-1-5 0,1-2-3 0,5-1 17 16,1-2-3-16,6-3-2 0,1 1-7 0,1-2-29 15,6 0 19-15,0-2 1 0,1-1-4 0,1-2 1 16,1 2 5-16,3-2-11 0,7-3 0 0,-9 6-49 16,9-6-41-16,0 0-23 0,0 0-44 0,0 0-53 15,0 0-57-15,11 1-46 0,-11-1-123 0,14-7-250 16,-4 4-172-16</inkml:trace>
  <inkml:trace contextRef="#ctx0" brushRef="#br0" timeOffset="-173929.87">17485 13068 167 0,'7'4'277'0,"0"-1"-44"0,1 5 0 0,5 0-30 15,-2 3-23-15,3 3-7 0,0 3-25 0,4 5 22 0,0 2-21 16,4 3 7-16,-2 3-35 0,1 2-13 16,0-2-13-16,1 4-6 0,-3 0-10 0,3-2 1 15,-2 2-2-15,0-1-11 0,-1 0-28 0,1-1 23 16,-2 0-28-16,1 0 22 0,-3-2-17 0,-1-5-5 0,-3-1-4 15,0-1-8-15,-3-4-5 0,0-1-2 0,1-1-8 16,-3-1 2-16,-1-2 1 0,-2-1 0 16,1-1-2-16,-1 0 3 0,2-3-4 0,-3 1 2 0,1-2-8 15,0 0-35-15,-2-1-15 0,1-2-14 0,-3-5-11 16,4 11-12-16,-4-11-15 0,5 7-76 0,-5-7-58 16,7 6-107-16,-7-6-309 0,0 0-162 0</inkml:trace>
  <inkml:trace contextRef="#ctx0" brushRef="#br0" timeOffset="-173457.86">17676 13031 231 0,'20'0'206'16,"-1"1"-37"-16,8 0-9 0,1 2-21 0,8 2-15 16,1 0 8-16,8 0-9 0,0 1-6 0,2 3-11 15,-1-2 4-15,1 3-1 0,-1-3 5 0,1 1-3 16,-3 1-15-16,-1-2-20 0,-6 1-11 0,-2-2-11 15,-3 0-13-15,-5 0-1 0,-3-1-8 0,-5-2-12 0,0 2-5 16,-3-2-2-16,-2 0 3 0,-3 1-15 16,-1-1-32-16,-1 0-47 0,-5 2-75 0,-4-5-28 15,5 6-97-15,-5-6-253 0,0 0-36 0</inkml:trace>
  <inkml:trace contextRef="#ctx0" brushRef="#br0" timeOffset="-172847.86">17996 12880 285 0,'-2'-5'353'0,"2"5"-88"0,-5-10-47 0,5 10-37 0,-2-8-37 15,2 8-26-15,2-7-22 0,-2 7-14 0,6-7-8 16,-6 7-20-16,13-5 1 0,-4 1 4 0,1 2-4 16,5-1-2-16,2 2-4 0,2-1 3 0,1 1-1 15,5-2 3-15,2 0 2 0,2 0-12 0,1 1 5 16,4-2 8-16,4 1-18 0,-2-1 5 0,0-2-6 16,0 1 6-16,-2-1-3 0,1 0 2 0,-2-1-8 15,-1 0-2-15,-1-2-8 0,-2 2-4 0,-3 0 0 16,-3 0-1-16,-2 0-4 0,-3 0 3 0,-1 1 3 15,-3 3-12-15,-3-1-3 0,1 0-8 0,-2 0-41 16,0 1-42-16,-10 3 5 0,12-3-19 0,-12 3-26 16,0 0-62-16,0 0-51 0,0 0-81 0,0 0-248 15,0 0-80-15</inkml:trace>
  <inkml:trace contextRef="#ctx0" brushRef="#br0" timeOffset="-172178.62">17356 13085 127 0,'0'0'268'0,"5"-5"-68"16,-5 5-24-16,0 0-25 0,8 5 18 0,-6 1-47 15,2 4 21-15,-1 3-34 0,-1 5 8 0,1 5-39 16,3 2 21-16,-2 7-15 0,1 2 9 0,-1 7-21 16,4 1 9-16,-1 1-25 0,1-1 1 0,1 3-2 15,0 1-14-15,4 0 24 0,-2 0 0 0,3-1-6 16,-1-1-6-16,0 1 7 0,2 0-6 0,-3-1-28 16,2-2 19-16,-4 1-9 0,-1-4-6 0,1 1-2 15,-1-9-4-15,-1 2-11 0,-2-4 6 16,3-1-1-16,-2 0 5 0,-1-6-9 0,-1-2 4 0,3 0-3 15,-3-4 3-15,1-1-6 0,-2 0-2 0,2-1 4 16,2-1-4-16,-3-2 1 0,2 0 2 0,-2-1 0 16,0-1-2-16,0 0-40 0,1-1-37 0,-1-2-40 15,1 2-29-15,-1-4 0 0,0 1-54 0,-1 0-51 0,2-1-58 16,-6-4-289-16,10 4-102 0</inkml:trace>
  <inkml:trace contextRef="#ctx0" brushRef="#br0" timeOffset="-168781.01">15756 11540 41 0,'-14'13'31'0,"4"2"34"0,-3-1-46 16,3 1 26-16,-2-1-45 0,0 3 43 16,1-1-8-16,0 1-2 0,-1 0 8 0,-1 0-5 15,2 1-8-15,-1 1-4 0,2-1-3 0,-2 1-4 0,1-1-2 16,2 2-4-16,-2-1-32 0,2 0 28 0,0-1-26 16,-1 1 36-16,2-1-34 0,2 0 46 0,-1-1-21 15,1 0 63-15,-1-1-43 0,4 1-8 0,-3-2 7 16,4 0-3-16,-2 1-6 0,3-1 2 0,-2 1 5 15,3 1 18-15,0-1-7 0,-1 0 0 0,2 1-2 16,-1 0-6-16,3 1 24 0,-2-2-35 16,4 2 22-16,2 1-28 0,-1 0 37 0,4 0-33 0,0-1 29 15,2 0-36-15,5 3 33 0,2-2-36 16,-1 0 30-16,2-2-31 0,2 1 23 0,0-1-31 0,0 0 26 16,4 0-25-16,0-1 23 0,-2 0-32 0,4-1 33 15,-1 0-35-15,0-1 31 0,1 2-28 0,-1-3 28 0,1 0-31 16,0 0 29-16,-1 1-25 0,0-4 24 15,1 1-29-15,-1 0 32 0,-1-1-30 0,0-3 30 16,-2 0-29-16,3-1 32 0,-3 1-35 16,3-1 37-16,0-1-20 0,1-1 36 0,0-1-38 0,2 0 27 15,-1-1-20-15,2-1 15 0,-2 1-30 0,4-2 27 0,-2-2-29 16,0 1 27-16,-1 0-31 16,1-2 36-16,-2 0-38 0,1 0 27 0,-2-1-29 0,0 0 17 0,-2-2-27 15,2 0 30-15,-3 0-20 0,2 0 17 0,-1-1-31 16,-2 1 28-16,-1-3-32 0,3 2 29 15,-4-1-23-15,1 1 33 0,-2-3-37 0,3 0 17 0,-3 2-36 16,0-2 38-16,-1-1-23 0,-1 1 30 0,-1-2-25 16,0 0 34-16,-1 0-26 0,-1-1 31 0,0 1-26 15,-2-1 28-15,3-2-28 0,-3 2 2 0,3-1 4 16,-3-1 1-16,2 1 5 0,0-2 7 0,0 1-4 16,0 0 0-16,0 1 2 0,2-4-1 0,-1 2 3 15,-2 0-4-15,2 2 5 0,-2-1-4 0,2 0 2 16,-3-1 2-16,1 3 2 0,-1-1 11 0,0 1-3 15,-1-1 12-15,1 1-2 0,-4 1-7 0,1 0 24 16,-1 0-23-16,-1-1 24 0,-2 0-33 0,1 1 24 16,0-1-29-16,-1-1 26 0,-3 1-29 0,0 1 21 0,0-1-20 15,-3 2 20-15,2-1-33 0,-2-1 30 16,-1 2-26-16,-1-1 25 0,-2 0-32 0,-2 0 11 16,0 0-45-16,-3-1 16 0,-2 2-38 0,0-1 5 15,-2 0-61-15,-4 0 2 0,1-1-97 0,-1 2 72 0</inkml:trace>
  <inkml:trace contextRef="#ctx0" brushRef="#br0" timeOffset="-167540.03">18857 12566 45 0,'5'-14'200'0,"1"3"-7"0,-2-1-86 0,1 2 11 0,-3 0-34 16,2 0 22-16,0 0-44 0,-1 0 16 0,-2 2-41 15,3-1-4-15,-3 2-10 0,0 0-6 0,-1-1-5 16,0 8 0-16,-5-11-1 0,3 4-1 0,-3 1-3 16,-2 3-1-16,1-2-3 0,-4 1 5 0,-2 1-3 15,-1 2 1-15,-1-1 2 0,-1 2-1 0,-7 0 1 16,1 2-3-16,-5 1 6 0,0 2 19 0,-6 1-30 16,2 1 25-16,0 4-38 15,0 0 29-15,0 2-23 0,-2 4 24 0,2 1-24 0,-1 1 25 0,3 1-22 16,0 2 27-16,0 1-26 0,1 1 29 0,1 0-29 15,-1 2 27-15,4 1-27 0,-1-1 30 0,1 3-31 0,0-2 2 16,4 5 4-16,1-1 3 0,1 1-1 0,-2 2 0 16,6 2 25-16,-3 0-29 0,4 1 25 0,-3 0-31 15,5 2 27-15,0-2-29 0,3-5 27 0,1 2-25 16,1-3 25-16,2 2-28 0,2-6 64 0,1 1-28 16,1-1 36-16,2-1-30 0,0-2 31 0,3 1-18 15,0-2 31-15,4 2-31 0,3-2 6 0,-3-4 1 16,4 0 1-16,-1-2 4 0,6 1-16 0,-1-4-3 15,-1 0 2-15,2-2-1 0,0-2-9 0,0-1 4 16,4 0 6-16,-2-3-3 0,2 1-4 0,1-3-6 16,0 0 4-16,-3-3 8 0,0 0-2 0,4-2-1 15,0-2-11-15,0 0-2 0,0-4-6 0,7-1-3 16,-4-3 1-16,2-1-6 0,4-5-8 0,-3-1 8 16,1-5-6-16,-3-1-15 0,2-4 15 0,-2-4 0 15,3-8-7-15,-2-2-6 0,-2-4 1 0,-3 2 1 16,-3 5-20-16,-3-2 36 0,-1-1-8 0,-4 1 31 15,3-1-5-15,-6-1-5 0,1-1 0 0,-2 3-7 16,-4-2-3-16,1 0 1 0,-2 1-5 0,-3 6-7 0,-2 1 3 16,-1 0 0-16,-4 2 2 0,1 1-5 0,-2 0 7 15,-2 4-8-15,-5-1 3 0,2 4-3 0,-5 0-68 16,0 3 2-16,-5 3-38 0,2 2-41 16,-4 1-42-16,-2 4-62 0,-3 0-85 0,-2 4-206 0,0 0-47 15</inkml:trace>
  <inkml:trace contextRef="#ctx0" brushRef="#br0" timeOffset="-166462.83">18329 14477 176 0,'6'-4'248'0,"4"-1"-63"0,-6 0-12 0,2 1-65 16,0 0 16-16,-2-1-29 0,-2-1 14 0,4 0-53 16,-4 0 15-16,0-1-38 0,-2 1 27 0,3-2-30 15,-3 1 27-15,0 0-26 0,-2-1 11 0,1 2-38 16,0-1 26-16,-2-1-31 0,-2 1 29 0,2 1-36 16,-4-1 27-16,1 1-29 0,-2 1 30 0,-3-1-33 15,-2 1 31-15,-4 2-32 0,2-1 29 0,-4 1-31 16,-1 2 32-16,1 1-31 0,-4 1 32 0,-2 1-30 15,2 2 29-15,-3-1-32 0,1 2 31 0,-1 2-18 16,3 1 46-16,-3 3-31 0,2 1 23 0,0 2 2 16,2-1-3-16,0 3 6 0,3 1-5 0,0 1 8 15,4 1 4-15,-1 2-3 0,6 0-2 0,0-1-6 16,1 1 23-16,4 1-31 0,0 1 16 0,2 1-28 0,3 1 20 16,1-1-19-16,2 1 24 0,2 0-18 15,2 3 14-15,1-2-26 0,3 1 17 0,-1-3-18 0,4 0 17 16,0-1-22-16,3-2 13 0,1-1-16 15,1 0 14-15,1-2-16 0,2-2 15 0,2 0-15 0,0-2 15 16,3-3-18-16,-1-1 18 0,-3-2-11 0,3-1 32 16,-1-3 7-16,1-3 3 0,-1-1-12 0,2-2-5 15,0-1 5-15,-2-4-11 0,5 0 15 0,-1-4-9 16,-2 0 26-16,-1-4-11 0,-1-1 36 0,-1-2-6 16,2-4 0-16,-2-2 8 0,-1-4-13 0,-4-1-7 15,-1-1-2-15,-2 3-2 0,-5 0-7 0,-2 1-22 16,1-2 4-16,-3 4-15 0,-3 0 13 0,-2 0-20 15,1 0 6-15,-6 0-1 0,-1 0-7 0,-1 1-35 16,-4 1-21-16,0-3-46 0,-5 0-32 0,-1 4-35 16,-2 0-38-16,-3 2-21 0,-2 2-57 0,0 0-30 15,-6 4-120-15,3 0-172 0,-5 0-111 0</inkml:trace>
  <inkml:trace contextRef="#ctx0" brushRef="#br0" timeOffset="-165666.09">16718 13452 191 0,'-16'0'188'0,"-1"3"-29"0,1 0-15 0,-4 2-21 15,-4 3-37-15,-2 3 38 0,1 3-30 0,-2 1 22 16,-2 6-47-16,-2 0 50 0,7 2-42 0,-3 1-12 16,5 2-2-16,-1 1 2 0,8-3 1 0,1 3 15 0,2 0-33 15,3 1 22-15,2 0-30 0,4-1 27 16,1 0-34-16,4 1 18 0,1 2-27 0,6 0 22 16,0-2-29-16,3 0-5 0,6 1 9 0,4-1 23 15,-3-6-17-15,3-2 17 0,2-2-16 0,4-2 13 0,-1-4-10 16,0-1 24-16,4-4 11 0,-3-1-2 15,1-5 1-15,-1-2-1 0,4-5-4 0,0-4-9 16,3-6-11-16,-3-3-10 0,-3-5-4 0,-1-4-7 0,-4 1-4 16,-2-4-3-16,-4-2 3 0,0 0-29 0,-8 5 36 15,0-2-28-15,-2 0 27 0,-4 0-7 0,-2 4-1 16,-2 1-1-16,-1 0-8 0,-3 4-3 16,-1 0-55-16,-4 3-46 0,2 2-47 0,-4 3-33 0,2 3-84 15,-5 0-71-15,3 3-309 0,-3 1-154 0</inkml:trace>
  <inkml:trace contextRef="#ctx0" brushRef="#br0" timeOffset="-150190.55">7287 12792 152 0,'-37'-28'142'0,"10"0"-33"0,1-1-30 0,3-2-13 16,4-3-47-16,5-1-6 0,5-2-22 0,3 4-32 15,6-3-22-15,6-5-86 0,3-1 4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6:39.806"/>
    </inkml:context>
    <inkml:brush xml:id="br0">
      <inkml:brushProperty name="width" value="0.2" units="cm"/>
      <inkml:brushProperty name="height" value="0.2" units="cm"/>
    </inkml:brush>
  </inkml:definitions>
  <inkml:trace contextRef="#ctx0" brushRef="#br0">28 15 684 0 0,'-28'-8'11784'0'0,"31"8"-11718"0"0,14-3 36 0 0,0 1-1 0 0,0 1 1 0 0,0 0 0 0 0,21 3 0 0 0,74 10 231 0 0,-110-11-334 0 0,177 24 160 0 0,-45-1-119 0 0,85 16-68 0 0,20 13 363 0 0,-188-44 518 0 0,-47-9-724 0 0,-1 1 8 0 0,119 3 1842 0 0,11 1-2014 0 0,-86-1-95 0 0,144 16 184 0 0,-63-3-2879 0 0,-78-3-4647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9-25T11:06:51.82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1322 15830 375 0,'-7'-11'347'0,"2"2"-42"15,1 0-35-15,2 1-21 0,-2-1-27 0,1 2-23 16,0-1-16-16,0 2-17 0,1 0-23 0,2 6-17 16,-4-8-13-16,4 8-2 0,-3-8-18 0,3 8-15 15,-2-7-18-15,2 7-11 0,0 0-13 0,-4-6-8 16,4 6 7-16,0 0 42 0,-4 8 51 0,1-1 3 16,-3 2 22-16,2 4-14 0,0 2 21 0,-3 3-32 15,0 2 2-15,3 0-16 0,-3 3 27 0,2-2-17 16,1 1-10-16,1-1-10 0,1-2 5 15,0 0-13-15,1 1 9 0,2-2-3 0,-1-1 30 0,4-1 16 16,1 0-33-16,6 0 37 0,3-3-57 0,5-1 22 16,1-3-54-16,8 0 31 0,4-5-60 0,4 0 27 15,-4-4-43-15,9-4 29 0,6 0-44 0,0-6 4 16,2-1-3-16,2-3 1 0,4-4-1 0,1-2-3 16,-4-3-28-16,-9 1-32 0,-2 0-28 0,-3-2-2 0,-2 2-19 15,0 0-15-15,-9 2 0 0,-3 4-4 0,-6 2-16 16,-3 3-99-16,-4 1-75 0,-4 3-15 15,-7 7-6-15,-1-10-15 0,1 10 5 0,-19-2-48 0,1 3-42 16,-7 4-411-16,-8 1-394 0</inkml:trace>
  <inkml:trace contextRef="#ctx0" brushRef="#br0" timeOffset="298.05">21152 16216 201 0,'-14'7'451'0,"2"-1"-116"0,3-1-26 0,-1-1-47 0,2 1-11 0,2 2-19 16,-2-3-25-16,2 3-11 0,0 1 42 0,-1 0-19 16,3 2 23-16,-1 0 7 0,1 4-12 0,2-1 7 15,-2-1-37-15,4 2-6 0,0 1-11 0,0 0-7 0,6 2-17 16,-2-2-22-16,3 3-10 0,2 1 2 16,6 2-16-16,0 0 14 0,7-2-36 0,2-1 6 15,7-2-34-15,5 1 27 0,5-2-36 16,4-3 25-16,4-4-45 0,4-2 34 0,3-3-47 0,4-3 24 15,1-4-39-15,12-2 31 0,-1-5-43 0,-2-2 41 0,0-4-16 16,-3-1-3-16,-3-2-7 0,-2-2 0 16,-4-1-5-16,-5 0-28 0,-12 5 31 0,-4 0-36 0,-1 0 35 15,-10 5-74-15,-2 1-25 0,-4 1-58 0,-3 2-54 16,-2 0-100-16,-4 3-103 0,-4 3-25 0,-7 3-53 16,0 0-193-16,0 0-461 0,-9 6-748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9-25T10:42:53.979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4832 9372 58 0,'0'0'77'0,"0"0"-23"0,0 0-30 0,0 0-25 0,0 0-20 15,0 0-44-15,0 0 21 0</inkml:trace>
  <inkml:trace contextRef="#ctx0" brushRef="#br0" timeOffset="1352.99">4924 9278 117 0,'0'0'92'0,"0"0"-12"0,0 0-21 0,0 0-12 15,-7-4-14-15,7 4-5 0,0 0-26 0,0 0-16 16,0 0-5-16,-12-2-17 0,12 2-7 0,0 0-14 16,0 0-1-16,0 0-21 0,0 0 27 0</inkml:trace>
  <inkml:trace contextRef="#ctx0" brushRef="#br0" timeOffset="2765.1">4875 9270 91 0,'0'0'110'0,"0"0"-15"0,0 0-18 0,0 0-25 0,0 0-28 16,0 0-20-16,0 0 34 0,0 0-8 0,0 0-3 0,0 0-3 15,-4 6-2-15,4-6 2 0,0 0 2 16,0 0-7-16,0 0 5 0,0 0 1 0,0 0 4 16,0 0 0-16,0 0-2 0,0 0 6 0,0 0-6 15,0 0 1-15,0 0-7 0,0 0-3 0,0 0-6 0,0 0 3 16,0 0 16-16,0 0 4 0,2 7 11 0,-2-7 2 15,0 0-4-15,0 0-34 0,0 0 40 16,7 4-38-16,-7-4 29 0,0 0-39 0,13 2 33 0,-13-2-31 16,0 0 33-16,14 3-37 0,-14-3 34 0,13 1-36 15,-13-1 29-15,13 3-35 0,-13-3 32 0,16 2-29 16,-16-2 31-16,16 2-28 0,-5-1 31 0,-2 1-38 16,3-1 39-16,-1 0-33 0,-1 0 34 0,3 0-35 15,0 0 43-15,0 2-30 0,1-1 45 0,-2 0-36 16,5-1 32-16,0 0-29 0,0 0 33 0,3 0-24 15,0-1 24-15,2 2-35 0,0-2 31 0,2 0-34 16,4 0 29-16,0 0-32 0,0-2 24 0,2 2-32 16,-1-1 25-16,2 0-31 0,-2 0 31 0,2 0-33 15,-2 0 24-15,2 0-23 0,-2-1 22 0,2-1-27 16,-2 2 24-16,1 0-28 0,-1-1 34 0,-2 1-34 16,1-1 22-16,0 1-22 0,0-1 26 0,0 0-30 15,0-1 31-15,1 0-26 0,-1 1 25 0,1 0-22 16,-1-1 25-16,3 0-23 0,-2 1 27 0,1-2-29 0,-1 1 33 15,-2 0-32-15,4 0 24 0,-3 2-25 16,1-1 28-16,-2 1-37 0,1 0 38 0,-1-1-28 16,0 0 22-16,-2 2-21 0,-2 0 21 0,2 0-27 0,-1 0 28 15,0 2-29-15,4-2 32 0,-5 3-32 0,4-2 22 16,-3 1-22-16,2-1 29 0,1 2-31 0,0-1 27 16,-3 2-21-16,4 0 24 0,-1-2-17 15,1 1 12-15,0 0-22 0,0-1 24 0,2 2-25 0,-2 0 26 16,1-2-25-16,-1 0 9 0,2 1-4 0,-1-1 22 15,-2 0-30-15,1-1 30 0,0 2-23 0,2 0 25 16,-2-2-20-16,1 1 17 0,-1-1-33 0,0 0 36 16,-1 1-30-16,1-1 29 0,0 0-31 0,-2 0 10 15,2 0-4-15,0 0 27 0,0 1-31 0,0-1 27 16,0 1-25-16,1 0 23 0,-1-1-16 0,1 0 15 16,-1 0-25-16,3-1 26 0,-2 2-26 0,2-1 25 15,1 0-26-15,-2-1 13 0,1 1-12 0,1 0 28 16,0-1-28-16,0 1 26 0,-1 0-24 0,-1-1 28 15,1 2-36-15,1-1 34 0,-1-1-23 0,-1 1 22 16,1 1-29-16,-2-2 33 0,2 1-30 0,-3 0 23 16,3 0-22-16,-2-1 24 0,-2 1-25 0,1-1 27 15,0 0-25-15,1 2 23 0,-1-2-28 0,0 0 30 16,0 1-30-16,0-1 33 0,0 0-23 0,-1 0 27 0,2 1-22 16,-2-1 27-16,0 0-21 0,1 0 17 15,3 0-28-15,-2 0 25 0,-1 0-18 0,3 1 27 16,-2-1-29-16,2 0 23 0,0 0-24 0,-2 1 25 0,3-1-21 15,-1 1 16-15,-1-1-19 0,1 2 16 16,1-1-17-16,0 0 18 0,-1 0-19 0,1 1 10 0,-2-1 9 16,2 0-3-16,0 0 6 0,0 0 8 15,3 2-6-15,2-2-5 0,-2 0 9 0,1 0 0 0,1 2-9 16,0-2 1-16,2 1 5 0,-2 1-10 0,0 0 1 16,1 0 5-16,-2 0-6 0,2 1-3 15,-1-1-1-15,-1 2-2 0,0 0 1 0,-2 0 2 0,1-1-7 16,1 2 2-16,-2-1 3 0,-1 0-4 0,2 0-4 15,-2 1 6-15,2-1 2 0,-2-1-9 0,0 3 2 16,2-3 0-16,0-1 1 0,0 1 1 0,-2 1 0 16,2-1 0-16,-1 0-3 0,1-1-4 0,-2 1 4 15,0-1-3-15,-2 0 7 0,-2-1-1 0,1 0 1 16,-1 0-4-16,0-1 4 0,1 0-4 0,-2 0 2 16,-1 2-2-16,-1-2 4 0,1-1 5 0,-2 2-11 15,-1-1 3-15,-1 0 0 0,-1 0-2 0,-1-1 2 16,1 0-3-16,1 1 4 0,-1-1 0 0,1 3 1 15,0-3-3-15,0 0 3 0,-1 0-1 0,1 0 0 16,1 1-3-16,3-1 1 0,-3 0 0 0,-1 0 0 0,5 0 0 16,-5 0 1-16,5 1 3 0,-2-2-4 0,-2 1 1 15,2 0 0-15,1 0-3 0,-3 0-1 0,3 0-3 16,-2-1 6-16,-2 1-13 0,4 0 8 0,-4-2-3 16,1 1-9-16,-1 1 5 0,-1-1 2 15,2-1 2-15,3 2 6 0,-4-1-6 0,-1-1 1 0,1 1 3 16,0 0-2-16,-1-1-1 0,-1 1 1 0,2 1 5 15,-1-1-8-15,2 1 7 0,-2-1-5 0,0 1 3 16,1-1-2-16,-1 1 2 0,1-1 3 0,-2 1-3 16,2 0-1-16,-1-2 1 0,1 2 2 0,0 0-1 15,-1 0 0-15,0 0 9 0,-1 0-9 0,2 0 2 16,-2 0-3-16,2 0 3 0,-2 0-2 0,2 0 1 16,-1 0 6-16,0 2-2 0,-1-2-6 0,1 0 2 15,0 0 1-15,1 0 0 0,-1 0 1 0,0 0 9 16,-1 0-10-16,1 0-1 0,-3 0 0 0,4-2-1 15,-1 2 2-15,-3 0-1 0,3 0-1 0,-2-1 3 16,-2 1-1-16,1 0 0 0,-3-1 1 0,0 1 2 16,-2 0-2-16,2-1 0 0,-4 1 0 0,2-1 1 15,-1 1 0-15,-13 0 1 0,18-1-22 0,-18 1-41 16,14 0-29-16,-14 0-35 0,0 0-66 0,0 0-143 0,0 0-284 16,0 0-131-16</inkml:trace>
  <inkml:trace contextRef="#ctx0" brushRef="#br0" timeOffset="4290.75">3685 9428 95 0,'0'0'245'0,"0"0"-59"0,0 0-30 0,-10 3-34 16,10-3-19-16,0 0-28 0,0 0-10 0,0 0-13 16,0 0-8-16,0 0-14 0,0 0-4 0,0 0-1 15,0 0-8-15,0 0-3 0,0 0-3 0,14-2-2 16,-14 2-5-16,16-1 1 0,-5-1 2 0,-1 0-2 16,2 0-3-16,2 1 1 0,1-2-1 0,2 2 1 0,-1-1 0 15,3 0-3-15,2 1 3 0,-2-1-2 16,0 0 1-16,0 0 0 0,-2-1-3 0,0 2 2 15,-6 0 3-15,2 0 1 0,0 0 12 0,-3-1 23 0,-10 2-7 16,15-1-8-16,-15 1-6 0,9-2 12 16,-9 2 4-16,0 0-15 0,0 0 0 0,0 0-5 0,0 0-1 15,0 0 1-15,-1-6-8 0,1 6 4 16,0 0-5-16,-10-1-22 0,10 1-41 0,0 0-54 0,-10 2-58 16,10-2-238-16,0 0 134 0</inkml:trace>
  <inkml:trace contextRef="#ctx0" brushRef="#br0" timeOffset="7757.74">6271 7177 131 0,'-22'-6'125'0,"4"1"-18"0,-2-1-27 16,-1-1-6-16,0 1-7 0,0-1-17 0,-2 1 8 16,3 0-9-16,-1 1-8 0,-1-1-8 0,2 0 0 15,-2 1-7-15,4-1-7 0,-2 2-15 0,2 0 13 16,-1 1-3-16,-3 0-8 0,4 1 6 0,-4 0-6 16,1 1 0-16,0 1-6 0,-3 0 5 0,1 0-1 15,-4 2-4-15,0 1 8 0,2-1-8 0,-2 2 0 16,-1-1 4-16,0-1-4 0,-4 4 1 0,0 0-2 15,-2-1 1-15,1 2 0 0,0 1 3 0,0-1-3 16,0 2 0-16,1-1 2 0,-1 2 1 0,1-2-2 0,1 2 4 16,-1-2-5-16,0 3 3 0,1-3-6 15,1 4 4-15,-1-3 1 0,0 2 3 0,2 1-5 16,0-1 4-16,-2 3-1 0,-4 0 1 0,2 0-1 0,0 2-1 16,1 1 2-16,-1-1 2 0,2 2-2 15,-1 0-2-15,0 2 1 0,0-1 1 0,1-1 1 0,2 2-31 16,0 1 46-16,1-1-10 0,-1 0 0 0,3 2-5 15,-1 0 3-15,5-3-6 0,-1 1 2 0,3 1 10 16,-1-1-11-16,2-1 0 0,0 2-1 0,1 0 4 16,0 1-3-16,4 0 1 0,-3-1 8 0,3 2-5 15,0-2 0-15,3 2 14 0,-2-2 2 0,4-1-8 16,1 3 1-16,1-1 0 0,-1-1-4 0,3-1 7 16,1 4 16-16,3-3-1 0,1 0-6 0,0 0-5 15,1-2-3-15,3 3-34 0,1-1 34 0,3 1-34 16,-2-1 36-16,3 0-35 0,5 2 34 0,-1 0-27 15,1-2 30-15,4 0-38 0,1-1 36 0,0 1-31 16,3-1 41-16,5 3-4 0,1-2-2 0,1 1-4 16,0 0-6-16,2-3-2 0,0 1-1 0,1 0-2 15,0 0 0-15,0-1 0 0,1-1-4 0,0 0 0 16,0 0 0-16,1 0-1 0,-1-1 2 0,0 1-2 16,2-1 0-16,-2 0 2 0,4-1-7 0,-3 1 2 0,2-1 0 15,0-1 0 1,1 1-1-16,1-1 6 0,-1-1-4 0,3-1 1 0,0 1 2 0,-1-1 8 0,1-1 4 15,0 1 3-15,2-2-32 16,-1-1 31-16,1 2-35 0,1-2 36 0,-1 0-32 0,2-1 32 0,1 1-32 16,-1-2 34-16,4 1-37 0,-2-2 36 15,2 1-33-15,-2 0 31 0,4-2-31 0,-1 2 32 0,-1-2-24 16,2-2 23-16,0 2-31 0,1 0 44 0,1-2-30 16,1 1 30-16,-2 0-32 0,0-2 28 0,4 0-27 15,-4 0 26-15,4-1-35 0,0 1 31 0,1 0-30 16,-1 0 29-16,3-1-27 0,-2 1 24 15,0-2-31-15,2 1 29 0,-1-1-29 0,-3 2 1 0,3 0 3 16,0 0 5-16,-1 0-3 0,0-1 1 0,0-1-1 16,-1 1 4-16,3-1-3 0,-2 2 3 0,2-1 4 15,-1 1-6-15,-1-1 29 0,-1 0-34 0,3 0 3 16,-2-1 1-16,0 0 2 0,-1 2 5 0,1-2-4 16,-2 1 0-16,0 0 2 0,-1 1 0 0,1 0 2 15,-4-1-4-15,1 0 7 0,-1-1-5 0,0 2-2 0,-2-1 2 16,0 0-3-16,-6 1 4 0,0-2 0 15,0 1 10-15,0 0-15 0,2-2-1 0,5 1 2 16,0 0 3-16,1 0 1 0,-1 1-3 0,0-1 0 16,2-1 3-16,-1 1 0 0,3 0-2 0,-1-1-2 0,3 1 3 15,-1-1-4-15,1 0 5 0,1 0-3 16,-1-1-1-16,0 0 1 0,1 0 0 0,-1 0-1 16,0-2 0-16,1 1 2 0,-2 0-2 0,2-4-2 15,-1 3 1-15,1-2 0 0,2 1 3 0,-1-2 1 0,1 1-8 16,2-1 2-16,9-3 2 0,-1 2 1 0,-11 0-2 15,11-3-1-15,-3 2 6 0,-7-2-5 0,5-1 2 16,-6 1 28-16,5-4-31 0,1 3 31 0,-3-3-14 16,3-1 11-16,-3-1-24 0,0 0 30 0,-2 0-23 15,1-2 29-15,-2 1-25 0,-9 1 24 0,7-4-20 16,-9 3 29-16,-1-2-20 0,-3 0 20 0,3 0-17 16,-4-2-4-16,-3 0 7 0,-1 0 8 0,-1 0-4 15,-2 0-1-15,-2-1 10 0,0 1-6 0,-5-1-6 16,-1-1-2-16,-6 2-23 0,-1 0 27 0,-1-1-34 0,-1 0 32 15,-3-1-4-15,-1-2-10 0,-3 0 8 0,0-1-15 16,-5 2-6-16,3 1-2 0,-4-2-4 16,-2-2 4-16,-2 0 0 0,0 1-3 0,-5-6-7 15,1 2 5-15,-6-3 4 0,1-3-2 0,-4 0-3 0,-2 1 4 16,-2-1 0-16,-2 1-2 0,-4-1-4 16,-1 3 17-16,-3-2-17 0,-7-4 2 0,-3 0 4 0,-2 0-8 15,-4 1 4-15,-3 0 0 0,0-1-5 0,-3 1 2 16,-2-1-21-16,1 1 13 0,-2-1-19 0,-2-1 12 15,2-1-5-15,-5 0 17 0,0 0-15 0,-2-1 14 16,-2 2-12-16,-2 0 14 0,-3-1-12 16,-1 3 13-16,-3-1-8 0,0 2 17 0,-3 1-18 0,-1 1 19 15,-2 0-16-15,-14-4 9 0,13 6-8 0,-15-5 14 16,15 5-2-16,-2 1-2 0,1 1-3 0,-1 0 2 16,2 0-7-16,1 2 11 0,3 0-5 0,0 2 4 15,0 1-6-15,4 2 5 0,0 0-4 0,0 2-16 16,4 2 3-16,0 1 1 0,2 1-7 0,-1 1-4 15,4 1 4-15,8 5-7 0,-1 0 1 0,2 0 4 16,-1 1 4-16,2 2 1 0,-1 1 2 0,0 0 5 16,1 1 1-16,-1 1-3 0,1 1-13 0,-1 1 3 15,1 0 4-15,0 2 2 0,0 0-3 0,7 1 7 16,-2-1-10-16,-4 2 5 0,6 0 5 0,1 0 2 16,-3 0 1-16,4 1 0 0,1 0 4 0,0 1-4 0,0-1 5 15,2 0 2-15,-1 1-6 0,0-1 3 16,-1 0 2-16,2 1-7 0,-2-1 14 0,1 0-9 15,-1 1 9-15,-1-2-12 0,-1 2 12 0,1-2-12 0,-1 0 12 16,-3 0-13-16,-2 0 14 0,2-1-10 0,3 2 10 16,-3-1-9-16,4-1 10 15,-2 0-6-15,-2 0 9 0,4 0-13 0,-2 0 10 0,2 0-9 0,0 0 8 16,-1 0-14-16,2 0 14 0,2 0-6 16,-2 0 7-16,2 0-6 0,1 1 6 0,0 0-7 0,1 0 12 15,0 2-13-15,7-2 13 0,-1 0-11 16,-2 1 9-16,4 2-19 0,-1-1 21 0,1 1-12 0,1 0 14 15,-1-1-13-15,1 2 6 0,1-1-1 0,2 2 6 16,0-2-10-16,-2 3 8 0,2 0-6 0,1-3 9 16,1 4-16-16,2-1 14 0,-2-1-4 0,4 1 7 15,-1 0-14-15,5 1 9 0,-5 1-4 0,2 0 7 16,-1 1-11-16,2-1 12 0,-1 2-11 0,-1-2 8 16,1 2-8-16,0 0 6 0,1-1-8 0,0 1 12 15,-1-1-8-15,-1 2 6 0,3-1-12 0,-2-1 11 16,-1 2-10-16,3-1 8 0,-3 0-3 0,4 0 7 15,-1 0-5-15,1 0-1 0,2-1-1 16,-3 1 8-16,1 0-1 0,-3 1 21 0,4-1-4 0,-2 1 3 0,1-1-1 16,-1 1-1-16,-1 0-12 0,1-1 24 15,1 2-28-15,-3-1 25 0,3 0-6 0,-1 1 0 16,-1 1-1-16,0-1-5 0,3 1-7 0,-2 0 0 16,2 1 1-16,-1-1 0 0,1-1-2 0,2 2-1 0,-2-1-2 15,0 1-3-15,3-1-2 0,-2 0 4 0,3 0-1 16,-1 0 0-16,3-1-3 0,-4 3 3 0,2-3-1 15,-1 4 0-15,1-4-2 0,3 0-1 0,-3 0 1 16,0 2 0-16,3-3-2 0,-2 1-3 0,0 0 5 16,3-2-3-16,-3 1 2 0,2 0 1 0,1-1 0 15,-1-1 2-15,1-1-4 0,1 1-2 16,0-2 2-16,1 1-3 0,-2-1 3 0,2 0-7 0,1-1 7 16,-3 0 1-16,4 2 0 0,-2-4 1 0,1 2-2 15,-1-1 0-15,0 0-1 0,1-1 4 0,2-5-4 16,-4 12 6-16,4-12-6 0,-4 9 2 0,0-4 0 15,4-5 0-15,-6 9 4 0,6-9-4 0,-4 9 1 16,4-9 2-16,-6 7 1 0,6-7-3 0,-4 7 0 16,4-7 2-16,-4 8-64 0,4-8-46 0,-4 5-48 15,4-5-56-15,-2 5-85 0,2-5-160 0,-3 8 69 16</inkml:trace>
  <inkml:trace contextRef="#ctx0" brushRef="#br0" timeOffset="11679.77">5113 12457 279 0,'0'-8'342'0,"-1"-2"-87"16,-2 2 5-16,-1-2-71 0,0 2-8 0,-2-2-38 16,0 3-29-16,-3-3-14 0,0 1-13 0,-4 0-11 0,3 0 3 15,-2 1-5-15,-2 0 2 0,1 2-13 0,-2-1-9 16,1 1-9-16,-4 3 2 0,3-1 1 15,-3 2-10-15,-1 2 1 0,-2 2 2 0,-2 3 1 0,0 1 9 16,-2 5-10-16,-2 3 4 0,-4 6 1 0,2 3 11 16,-1 2-13-16,2 5 2 0,1 1-8 15,2 3 15-15,1 1-20 0,3 2 21 0,1 1-19 16,2 2 12-16,5 1 2 0,1 1-1 0,4 0-19 0,1 0 7 16,6 4-16-16,1-2 17 0,1 4-21 0,3-1 19 15,1 1-26-15,5-3 22 0,-1 2-22 0,4-4 22 16,2-1-24-16,2-2 19 0,2 0-15 0,4-3 14 15,0-2-17-15,3-2 18 0,1-2 1 0,1-1-5 16,1-2 0-16,3-1-5 0,0-3-1 0,0-2 2 16,2 0 3-16,1-4-1 0,3-2-6 0,2-3 0 0,0-3-3 15,3-2 3-15,-3-3 5 0,1-4 8 16,2-2-4-16,6-4-4 0,2-1-4 0,-3-4-1 16,1-3-1-16,-1-3 2 0,-4-2-3 0,5-6-8 15,-9-1 8-15,1-5-10 0,-8 0 5 0,3-8-6 0,-13 2 7 16,-1-4-1-16,-8-2-6 0,-3-3 0 0,-4-2-1 15,-6-4-5-15,-2 1 5 16,-6-1 2-16,-4 1-3 0,-4-8-5 0,-6 3 7 0,-1 2-3 0,-5 4 7 16,-2 1 0-16,-4 4 3 0,-3 0-7 0,-3 5 7 15,-1 2-6-15,-1 3 4 0,-4 4-9 16,8 5 9-16,0 2 0 0,0 3-4 0,0 3-33 0,0 1-51 16,6 7-10-16,2 0-39 0,2 2-32 0,3 4-38 15,2 1-16-15,2 4-70 0,2-1-39 0,0 3-70 16,4 3-315-16,1 1-217 0</inkml:trace>
  <inkml:trace contextRef="#ctx0" brushRef="#br0" timeOffset="13038.03">12325 10314 72 0,'-21'-10'250'0,"1"3"-65"15,-3-2-26-15,1 0-34 0,1 2-14 0,0 0-8 16,-1 2-43-16,3-2 18 0,-2 3-42 0,2-1 24 15,1 3-38-15,-1-3 33 0,1 3-38 0,-1 1 28 16,0-1-34-16,1 2 25 0,0 0-33 0,0 1 30 16,-2 0-33-16,-2 1 25 0,-1 2-17 0,-1 0 8 15,0 2 1-15,-3 0-7 0,-1 2 0 0,-3 0 0 16,2 2-5-16,-1 2-2 0,0-1 4 0,0 2-1 0,-4 4-23 16,-1 0 41-16,3 1-23 0,0 2 24 15,3 1-27-15,-2 0 33 0,3 3-31 0,1 2 3 16,-1-1 0-16,5 2 13 0,0 2-2 0,0 1-3 0,5 0 1 15,0 2 28-15,3 1-24 0,5-4 35 0,1 2-35 16,2-1 22-16,1 1-30 0,6 2 33 0,0-4-26 16,5 1 29-16,0 4-33 0,4-2 31 15,3 2-19-15,4 0 22 0,2-2-29 0,4-1 40 0,1-2-27 16,1 0 7-16,4-4 1 0,2-1-4 0,0-1 0 16,2-3 25-16,4-1-35 0,0-3 31 15,2-2-32-15,3-1 38 0,1-5-33 0,2 0 40 0,3-3-35 16,2-1 34-16,2-2-28 0,2-2 34 0,2-2-12 15,-1-3 0-15,4-1 0 0,-2-2 8 0,0-1-4 16,5-5-4-16,-1-2-3 0,-2-3 1 0,-4-2-5 16,-3 0-2-16,-8-1 1 0,2-7-2 0,-9 4-16 15,-2-5 10-15,-1 2-5 0,-2-6-6 0,-3 1 0 16,-2 0 8-16,-3 0 15 0,-4-1-1 0,0-1-13 16,-5 0 6-16,-1 1-18 0,-5 5 7 0,-3-4-7 15,-3 1 0-15,-3 2-6 0,0-4 0 0,-4-1-1 16,-6-4-5-16,-1 2 1 0,-4-2-5 0,-3 2 0 15,-2 1-4-15,-4 0-4 0,-2 2 2 0,-3 3-1 0,-9-4-3 16,6 6 0-16,-4 3-1 0,-3 2-2 0,-1 1 0 16,-2 4-5-16,1 1-41 0,-2 2-13 15,0 3-11-15,0 1-19 0,2 5-21 0,8 1-20 16,0 2-28-16,6 2-21 0,0 2-25 0,4 1-19 0,-1 4 2 16,4 0-47-16,-1 0-24 0,8 2-115 0,-1 1-164 15,3-1-86-15</inkml:trace>
  <inkml:trace contextRef="#ctx0" brushRef="#br0" timeOffset="49458.44">5986 9253 234 0,'0'0'240'0,"6"-8"-13"16,-6 8-83-16,8-10 24 0,-8 10-48 0,6-7 20 15,-6 7-47-15,7-8-9 0,-7 8-8 0,6-9 12 16,-6 9 10-16,6-7-3 0,-6 7-6 0,4-8-9 15,-4 8-7-15,5-5 0 0,-5 5-14 0,4-6-14 0,-4 6-13 16,0 0-8-16,4-6-5 0,-4 6-5 16,0 0 0-16,0 0-1 0,0 0 16 0,8 6 2 15,-8-6-8-15,5 9 1 0,-5 0-1 0,2-1 13 0,-2 5-6 16,0-2 11-16,0 6 5 0,3 2-3 16,-3 2-3-16,1 5 3 0,2 0-6 0,-2 4-7 0,0 2 7 15,0 4-10-15,1 0 9 0,0 1 0 16,1 6 5-16,2 0-4 0,0 0 17 0,0 3-1 0,0 1 3 15,2 1-3-15,-2 3-7 0,0 2-20 0,0 1 4 16,3 9-7-16,-3 2 17 0,1 0-17 0,2 2 15 16,1-1 0-16,-3 1 2 0,2 2-6 0,0 2-2 15,-1-1 1-15,0 2-2 0,-2 0 14 0,1 0-7 16,-2 1 8-16,2-3-4 0,-2 1-2 0,0 1-3 16,0 1-8-16,-2 2 15 0,1 1 2 0,1 0 9 15,0 1 2-15,-3 0-3 0,3 0 1 0,-3 1 4 16,-1-2-1-16,1 2 8 0,-1 0-10 0,0 1-1 15,1-1-8-15,-1 1-11 0,-1-1-3 0,4 0 3 16,-2-2 3-16,3-1-34 0,-3 2 37 0,3-4-4 16,0 0 2-16,1-2-14 0,0 0 4 0,-1 1-9 15,1-2-1-15,0-1-25 0,-1-3 22 0,1-1-2 16,-2-8-8-16,2-2 11 0,-3-1-12 0,2-2 12 16,-1-1-10-16,-1-1 7 0,0-1-12 0,-4-3 9 0,1 0-11 15,0-9 15-15,-1-1-25 0,1-3 13 16,-1-6-79-16,-1-2-31 0,3-2-21 0,-1-4-17 0,-2-2-43 15,2-4-31-15,1-1-67 0,-1-3-144 0,1-9-105 16,-3 5-406-16,3-5-517 0</inkml:trace>
  <inkml:trace contextRef="#ctx0" brushRef="#br0" timeOffset="50675.78">13462 9574 80 0,'-12'-6'332'0,"1"-1"-52"0,-2 0-97 16,3 0 14-16,-4 0-69 0,1 0 0 0,-1 0-55 16,1 0 29-16,-2-1-47 0,2 3 24 0,-3-1-29 15,0-1 20-15,-3 2-17 0,0-2 32 0,-3 0-32 16,1 4 15-16,0-3-27 0,-2 1 26 0,-1 1-28 15,0 1 17-15,-2 1-36 0,1 0 20 0,-1 2-26 16,-2 0 21-16,-2 1-32 0,0 2 24 0,-6 0-26 0,-1 2 17 16,-8 3-20-16,0 1 25 0,-1 2-19 0,0 0 35 15,-1 3-15-15,1 1 15 0,-1 2-16 16,-8 5 6-16,2-1-4 0,2 6-5 0,0-2-2 16,1 4-2-16,-1 1 0 0,5 3-31 0,0 1 49 0,4 3-37 15,-1 1 33-15,3 2 0 0,3 1-1 16,1 4 4-16,0 0-2 0,6 1 0 0,1 1 1 15,4-2 20-15,3-4-4 0,4 0-5 0,3 1-5 0,0 0 14 16,3 0-29-16,3 1 30 0,5 1-19 0,-2-1 22 16,5 1-25-16,2 1 10 0,3-2-2 0,1 3-5 15,3-3-4-15,1 1 4 0,3-1-2 16,1-2-2-16,4 0 5 0,-1-3 3 0,5 0 0 0,0-1 10 16,3-3 1-16,1-1-3 0,6-2-9 0,1-1 14 15,2-3-13-15,2 0 6 0,5-3-15 0,1-3 7 16,-1 0-11-16,5-1 6 0,-1-5-12 0,1-1 5 15,0-3 4-15,0-3-1 0,0-2 3 0,2-1-2 16,-7-3 14-16,1-2-17 0,6-4 5 0,-1 0-15 16,-1-2 15-16,0-3-13 0,-1 0 5 0,-1-4-10 0,-1 0 4 15,-1-4-12-15,-3 0 9 0,1-3 1 16,-3-3-2-16,-2-2 0 0,-1-3 1 0,-2-2 2 16,4-8 3-16,-4-3-8 0,-2-3 4 0,-8 5-8 15,-1-2 4-15,-2-1-3 0,-4-4 6 0,0 0 2 16,-4-1 4-16,-2-1 3 0,-3-2 10 0,0 1 8 15,-3 1-4-15,-3-2 3 0,-4 2-5 0,-5-1-7 16,-1 1-2-16,-8-7-3 0,-3 0 10 0,-3 4-6 0,-4 0-3 16,0 2-11-16,-4 2 3 0,0 1-9 0,0 0 5 15,-2 3-9-15,-1 2-6 0,1 3 4 0,2 7 2 16,1 2-2-16,-2 1-38 0,-2 5-43 0,2 2-47 16,-1 3-57-16,-1 3-50 0,3 6-75 0,0 1-83 15,3 6-72-15,-2 3-542 0,-3 3-610 0</inkml:trace>
  <inkml:trace contextRef="#ctx0" brushRef="#br0" timeOffset="51465.31">12754 10047 223 0,'0'-17'352'16,"0"1"-68"-16,0-1-36 0,-1 0-34 0,-2 0-39 15,-1-3-21-15,-1-1-5 0,-2-1-29 0,0 2-25 16,-2 0-17-16,-4-4-2 0,-2 1-12 0,2 1-6 16,-6 3 1-16,-1-2-3 0,-1 3-10 0,-2 0-4 0,-2 4-11 15,-2 0-2-15,-2 3-8 0,-2 2 4 0,0 1-15 16,-3 3 9-16,-2 3-7 0,-1 2-10 0,-3 2 3 16,-6 3-3-16,1 3 3 0,-2 2-3 15,-3 3-1-15,-5 7 9 0,-1 2 10 0,1 4-28 0,0 5 48 16,4 1-31-16,-1 7 35 0,1 1-8 0,3 5-8 15,1 3-5-15,5 2 0 0,1 2-2 0,4 1-2 16,1 2 0-16,7 0-1 0,2 1-2 0,4-2-31 16,2 3 10-16,6 0 47 0,6-10 1 0,5 3 18 15,2-4 1-15,6 3-11 0,2 0 15 0,7-3-3 16,5 7-7-16,5-3-2 0,2-4-1 0,7-1-5 16,1-3-2-16,6-3 0 0,2-1-5 0,5-5 16 15,1-2-20-15,7-2 13 0,0-4-13 0,8 1 11 16,-1-7-16-16,6-3 10 0,-1-5-17 0,4-2 13 15,-6-4-12-15,-1-4 19 0,11-5-12 0,-1-4 6 16,4-3-17-16,-5-6 5 0,1-3-9 0,-1-8 2 16,-4-4-10-16,-3-8 4 0,-4-5 4 0,7-16-2 15,-17 5-12-15,5-16 13 0,-15 6-13 0,2-14 8 0,-11 9-10 16,-2-2 9-16,-8-1 15 0,-3 2 4 0,-5 3 4 16,-5 0 0-16,-8 13-3 0,-2 2-4 15,-6 2-1-15,-8-4-11 0,-8 3 0 0,-5 2-6 0,-8 7 0 16,-5 2-26-16,-6 5-10 0,-6 5-49 0,-4 1-52 15,-7 7-55-15,-5 5-64 0,-6 5-50 16,-3 3-58-16,-8 8-83 0,-3 4-466 0,-6 6-470 0</inkml:trace>
  <inkml:trace contextRef="#ctx0" brushRef="#br0" timeOffset="52703.7">11252 9450 143 0,'0'0'157'16,"3"-8"-34"-16,-3 8-29 0,6-6-17 0,-6 6-17 15,4-6-17-15,-4 6-26 0,5-6 17 0,-5 6-5 16,0 0-6-16,4-7-6 0,-4 7-2 0,0 0-4 0,7-6-32 16,-7 6 44-16,0 0-23 0,5-6 39 0,-5 6-34 15,0 0 37-15,5-6-29 0,-5 6 40 16,0 0-30-16,5-5 44 0,-5 5-25 0,0 0 38 16,0 0-32-16,4-5 31 0,-4 5-23 0,0 0 10 0,0 0-35 15,0 0 27-15,0 0-34 0,3-5 29 0,-3 5-33 16,0 0 35-16,0 0-36 0,0 0 34 15,0 0-29-15,0 0 36 0,0 0-24 0,0 0 32 0,0 0-14 16,0 0 26-16,0 0-13 0,0 0 17 0,0 0-18 16,0 0 3-16,4-5-26 0,-4 5 1 0,0 0-23 15,0 0 14-15,0 0-9 0,-2-4 10 0,2 4-8 16,0 0 0-16,0 0 1 0,-3-7-3 0,3 7 2 16,0 0 8-16,0 0 7 0,0-7-5 0,0 7-4 15,0 0-8-15,0 0-4 0,-2-5-2 0,2 5-4 16,0 0 3-16,0 0-5 0,-3-6-3 0,3 6 0 15,0 0-3-15,0 0 0 0,-4-7-2 0,4 7-5 16,0 0 18-16,0 0 4 0,0 0 4 0,-1-5-4 16,1 5 2-16,0 0-4 0,0 0 4 0,0 0-11 15,-1-6 1-15,1 6-5 0,0 0 3 0,0 0-6 16,0 0 2-16,0 0 0 0,0 0-3 0,-3-7 1 16,3 7-3-16,0 0 0 0,0 0 0 0,0 0 2 15,0 0-1-15,0 0-7 0,0 0 5 0,0 0-2 16,0 0-3-16,0 0 5 0,0 0-2 0,0 0-3 15,0 0 3-15,0 0-1 0,0 0-2 0,0 0 1 0,0 0 0 16,0 0 4-16,0 0-7 0,0 0 4 0,0 0 2 16,0 0-1-16,0 0 0 0,0 0-2 0,0 0 5 15,0 0-4-15,0 0-3 0,0 0 4 0,0 0 0 16,0 0 1-16,0 0 0 0,0 0-2 0,0 0-4 16,0 0 6-16,0 0-1 0,0 0-2 0,0 0 1 15,0 0 1-15,0 0-4 0,0 0-22 0,0 0-44 16,0 0-43-16,0 0-38 0,0 0 16 0,0 0-22 15,0 0-6-15,0 0-106 0,-7 6-40 0,7-6-298 16,-3 8-119-16</inkml:trace>
  <inkml:trace contextRef="#ctx0" brushRef="#br0" timeOffset="55934.56">11581 9333 13 0,'-3'-7'84'16,"-2"3"31"-16,1-1-57 0,-2-2 42 0,0 1-61 16,-1 1 34-16,-1-1-50 0,2 0 62 0,-3 1-42 15,0 1 23-15,3-3-48 0,-2 4 28 0,1-1-39 16,7 4 33-16,-13-6-42 0,13 6 29 0,-16-5-32 16,16 5 30-16,-14-1-45 0,14 1 30 0,-15 0-38 15,15 0 15-15,-13 2-50 0,13-2 9 0,-13 6-37 16,13-6 48-16,-14 5-58 0,14-5-44 15,-11 5 39-15</inkml:trace>
  <inkml:trace contextRef="#ctx0" brushRef="#br0" timeOffset="56681.56">11339 9294 193 0,'0'0'86'0,"0"0"29"0,0 0-51 15,0 0 35-15,-10-1-30 0,10 1 45 0,0 0-42 16,0 0 43-16,-5-6-30 0,5 6 12 0,0 0-49 16,-5-6 21-16,5 6-25 0,0 0 46 0,-7-7-28 0,7 7 38 15,0 0-39-15,-3-7 34 0,3 7-30 16,0 0-8-16,0 0-17 0,-7-5 4 0,7 5-38 0,0 0 20 15,0 0-30-15,-4 6 26 0,4-6-13 0,-2 15 32 16,0-2-28-16,1 1 38 0,0 5 15 0,0 5 17 16,-2 2-31-16,3 8 10 0,-2 2-17 0,0 1 22 15,4 3-22-15,-2 7 2 16,2 2-21-16,2 1 36 0,0 1-6 0,0 3-3 0,-1-2 2 0,3 4 0 16,0 8-3-16,0-10 0 0,1 9 10 0,-1-9-2 15,2 8 3-15,-3-8 0 0,4 8 1 0,-1 0-12 16,-2 2 28-16,2-3-6 0,-1-6-4 15,0 8 2-15,-1 1 2 0,-1-11-11 0,3 0 5 0,-2 1-6 16,-1 0-7-16,2 0 2 0,-2-1-3 0,-1 1-10 16,2 0 9-16,-2 1-14 0,0 1 12 0,-2 0-17 15,2-2 5-15,-1 0-4 0,1-2-3 0,1 3 0 16,0-4-2-16,-2 0-1 0,3-1 5 0,-4 2-6 16,2-3-4-16,1 0 5 0,-2-1-7 0,-1-1 4 15,2 1 0-15,-1-2-3 0,-1 0-4 0,1-1 2 16,-2-2 0-16,2 1-4 0,-1 0 0 0,-1-7-5 0,2 1-1 15,0 1 0-15,-1-2-1 0,-1 0-2 16,2 0 2-16,1 2-6 0,0-3 2 0,-3 0 1 0,1 0-3 16,2-1 1-16,-1 0 1 0,-2-2-5 0,2-1-2 15,-1 2 13-15,1-1-7 0,-2-2-4 0,2 1 2 16,-2 1 0-16,-1-5-2 0,2 1 1 0,0 0 1 16,-2 1-7-16,0-1 3 0,0 1 4 0,-2-1-2 15,0-2-1-15,2 3 2 0,-3 2 0 16,2-5 0-16,-1 4-1 0,-1-3-3 0,-1 3 4 15,2-4-3-15,-1 4 5 0,-1-1 0 0,0 1-1 0,-2-1 2 16,2 0-4-16,-2 1 1 0,1 0 1 0,-2 0 10 16,2 1-10-16,-1-1-1 0,1 0-2 0,-2 0-5 15,2 1 5-15,1-1 1 0,-3 2 1 0,2-3-8 16,-1 2 7-16,3 0-2 0,-3-1 3 0,2-1-2 16,1 2 0-16,-4-3-2 0,4 3 5 0,0-1-2 15,-1-5 3-15,3 2-7 0,-2-2 7 0,2 2-4 16,0-2 3-16,-2 2-7 0,2-1 8 0,1-1-2 15,-1 2 4-15,-1-1-3 0,2 1-2 0,0-1 2 16,0 0-3-16,-1-1 3 0,1-1-3 0,1 1-2 0,-1-1 1 16,0-5 2-16,0 0-6 0,0 0 5 0,0-1 1 15,0-2 1-15,0-2-5 0,0-1 3 0,0-3 3 16,0 1-4-16,0 1 5 0,0-4-5 16,0 1-36-16,0-3-8 0,0 0-22 0,-1 0-49 0,1-7-58 15,-4 9-82-15,4-9-124 0,-5 5-140 0,5-5-521 16,0 0-655-1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8191" units="dev"/>
          <inkml:channel name="T" type="integer" max="2.14748E9" units="dev"/>
        </inkml:traceFormat>
        <inkml:channelProperties>
          <inkml:channelProperty channel="X" name="resolution" value="1290.03943" units="1/cm"/>
          <inkml:channelProperty channel="Y" name="resolution" value="2064.713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9-25T10:46:04.653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6803 3842 180 0,'-30'11'733'0,"3"1"-148"0,6-3-143 0,2 0-19 16,6-1-12-16,4 0 24 0,5-4-33 0,4-4-20 15,5 9-48-15,7-5-40 0,7-2-24 0,9 0-26 16,4-2-36-16,9-1-32 0,11-1-27 0,7-3-17 16,2 1-3-16,10-3-23 0,0-1-15 0,3 2-13 15,-5-1-19-15,-2-2-12 0,-10 2-7 0,-4-1-11 16,-3 1-5-16,-3 0-46 0,-4-1-16 0,-9 2-51 16,-4 0-9-16,-3 0-65 0,-4 1-59 0,-6 1-81 0,-1 0-107 15,-7 0-28-15,0 1-61 0,-9 3-135 16,5-4-456-16,-5 4-706 0</inkml:trace>
  <inkml:trace contextRef="#ctx0" brushRef="#br0" timeOffset="562.55">17089 2990 612 0,'-3'-10'531'0,"2"2"-119"16,0 2-85-16,1 6-58 0,-2-9-21 0,2 9-17 16,0 0 42-16,0 0 12 0,0 0 34 0,2 6-64 15,-1 2 9-15,3 2-58 0,0 3-29 0,1 1-28 16,0 2-20-16,5 3-18 0,-3 2-21 0,2 1-15 15,0 2-11-15,2 4-12 0,-1-2-12 0,2 3 1 16,-1-2-43-16,-2 1-78 0,1 1-43 0,-2 0-76 16,1 2-75-16,-2-4-54 0,-2 4-73 0,-2-7-119 15,1 0-489-15,-3 3-614 0</inkml:trace>
  <inkml:trace contextRef="#ctx0" brushRef="#br0" timeOffset="1294.58">17006 4463 230 0,'0'0'565'0,"1"-10"-140"0,-1 10-83 0,0 0 4 0,0 0-40 16,10 4-29-16,-7 2-21 0,-1 2 3 15,2 3-29-15,0 3-16 0,3 2-27 0,-2 3-11 16,2 2-15-16,-2 2-6 0,2-1-24 0,-2 2-13 15,0 0-22-15,0 1-17 0,0-2-6 0,-1 1-5 0,0-1-1 16,-1 0-8-16,-1-5-9 0,-1 0-14 16,1 0-3-16,-2-6 13 0,0 1 15 0,-3-1 15 0,3-2 14 15,-1-3 31-15,0-1-51 0,1-6 22 0,-4 7-44 16,4-7 21-16,0 0-41 0,-6-7 23 0,5-3-41 16,1-1 18-16,3-6-30 0,-1-1 25 0,4-4-31 15,1-1 30-15,3-4-34 0,1 2 32 0,2 0-36 16,-1 3 31-1,4 1-32-15,-3 7 30 0,2-1-31 0,1 3 28 0,-3 4-32 0,2 2 35 0,-2 1-32 16,-1 4 35-16,3 1-34 0,-3 2 32 16,0 2-32-16,1 4 37 0,-4 0-31 0,4 2 30 0,-3 1-22 15,-1 1-2-15,1 1 42 0,-1 1-40 0,-2-2 8 16,-1 3 9-16,0-2-2 0,1 1-3 0,-5-2 0 16,2 0 27-16,-3-2 10 0,1 0 4 0,0-1-3 15,-2-1 14-15,0 0 26 0,0-8 21 0,0 11 2 16,0-11-23-16,0 7-17 0,0-7-14 0,0 0-9 0,0 0-11 15,0 0-7-15,4-12-8 0,0 5-6 16,2-3-4-16,-1 2-6 0,3-3 13 0,0 1-14 16,2 1 8-16,0 0-16 0,-1 1 11 0,1 1-15 0,1 1 11 15,-1 2-13-15,1 2 16 0,-11 2-13 0,21-1 14 16,-10 3-9-16,-1 2-4 0,1 1 6 0,0 2 10 16,1 1-11-16,-2 1 9 15,0 1-10-15,-2 1 14 0,0 1-25 0,-1 0-33 0,-2 1-74 0,-1 0-42 16,-1 1-29-16,-1-2-37 0,-2 1-44 0,0-1-65 15,-2 1-58-15,-1-1-24 0,-1 0-115 0,2 0-86 16,-3-1-439-16,-2 0-678 0</inkml:trace>
  <inkml:trace contextRef="#ctx0" brushRef="#br0" timeOffset="5139.33">18239 3619 383 0,'0'0'341'0,"-5"5"-52"16,5-5-35-16,0 0-31 0,0 0-14 0,5 7-24 15,-5-7-25-15,12 1-26 0,-12-1-17 0,19-2-17 16,-5-1-25-16,3 0-16 0,2-1-9 0,0-1-8 16,5 0-5-16,2 1-6 0,-1-1-4 0,2-1-4 15,4-1-32-15,-3 2-74 0,-3 0-71 0,1 1-110 16,-2 0-129-16,1 0-181 0,-6 2-87 0</inkml:trace>
  <inkml:trace contextRef="#ctx0" brushRef="#br0" timeOffset="5356.33">18437 3748 24 0,'-11'5'676'0,"3"0"-151"0,2-1-51 0,6-4-86 0,-12 6-42 16,12-6-86-16,0 0-26 0,0 0-33 0,0 0-10 15,9-6-17-15,0 2-2 0,3 1-35 0,3-1-18 16,-1-2-29-16,5 1-5 0,0 0-27 0,1 2-3 16,0-2-17-16,2 0-3 0,-3 1-79 0,1 1-43 15,-3 1-75-15,2-2-49 0,-2 1-54 0,-3 2-101 16,-3 0-73-16,3-1-414 0,-14 2-401 0</inkml:trace>
  <inkml:trace contextRef="#ctx0" brushRef="#br0" timeOffset="10468.31">22105 2987 575 0,'1'-7'419'16,"-1"7"-92"-16,-1-8-54 0,1 8-27 15,0 0-10-15,-14 5-10 0,4 3-35 0,-3 3-16 16,-5 3-32-16,-1 4-13 0,0 2-43 0,-3 1 8 0,-1 4-36 15,3 1 12-15,-1-5-24 0,3 2 11 16,2 0-28-16,-1-2 13 0,2 1-24 0,0-2 17 16,3-1-22-16,0-3 16 0,1 1-95 0,1-2 0 0,1-4-67 15,1 2 18-15,-1-4-49 0,3 0 21 0,-1-4-74 16,0-1-19-16,7-4-47 0,-12 2-64 0,12-2-207 16,-9-7-63-16</inkml:trace>
  <inkml:trace contextRef="#ctx0" brushRef="#br0" timeOffset="10684.3">21682 2992 259 0,'0'-11'447'0,"0"3"-152"0,0 8-8 16,3-10-55-16,-3 10 36 0,6-3-9 0,-6 3-15 15,10 7-12-15,-1 0 1 0,2 4-22 0,1 3 30 16,4 2-25-16,0 6-32 0,3-1-18 0,3 7-19 16,2 0-27-16,-1 2-23 0,-1 0-12 0,1-2-10 15,0 1-17-15,-2 0-10 0,-1-1-7 0,-2-3-5 16,-3-1-9-16,-1-1 1 0,0-1-1 0,-1-1-7 15,-4-3-6-15,0 0-39 0,-3-2-42 0,3-2-51 0,-5-2-48 16,1-2-18-16,-1-1 2 0,1-2-13 16,-5-7-74-16,4 10-134 0,-4-10-96 0,0 0-290 0,0 0-310 15</inkml:trace>
  <inkml:trace contextRef="#ctx0" brushRef="#br0" timeOffset="11667.81">22517 3288 276 0,'0'-11'432'0,"0"11"-100"16,-2-7-1-16,2 7-94 0,0 0-20 0,0-8-83 15,0 8 22-15,0 0-21 0,4 5 40 0,-4-5-67 16,3 14 41-16,-2-3-29 0,0 2 28 0,1 1-40 16,-2 0 8-16,1 3-14 0,-1 1-14 0,0 1-3 15,0 0-15-15,-1 0-19 0,1 2 3 0,-2-1-6 16,1 1-8-16,0-1 7 0,0 1-16 0,1-1-52 0,-2 0-77 15,2 0-42-15,0-1-37 0,0-2-89 0,2 0-35 16,0-2-84-16,1-4-377 0,0 0-277 16</inkml:trace>
  <inkml:trace contextRef="#ctx0" brushRef="#br0" timeOffset="12010.81">23530 2945 82 0,'7'-3'500'15,"-7"3"-133"-15,10-6-12 0,-10 6-45 0,7-4-36 16,-7 4-43-16,7-4-35 0,-7 4-52 0,0 0-31 15,8-3-22-15,-8 3 1 0,0 0 20 0,-2 7 18 16,-3 0-15-16,1 2 13 0,-5 2-17 0,-1 2 9 16,-1 4-8-16,-5 3-5 0,0 2-8 0,-2 0-4 15,-2 6-15-15,0 1-16 0,-2 0-4 0,3-1-12 16,-1 0-3-16,1 1-11 0,3-5-3 0,-3 1-4 0,4-1-5 16,-2 0-26-16,2-2-78 0,0-1-62 15,2-3-46-15,0-1-10 0,0-1-45 0,4-3-54 0,-1-2-43 16,2-2-38-16,3-2-384 0,-3-4-280 15</inkml:trace>
  <inkml:trace contextRef="#ctx0" brushRef="#br0" timeOffset="12210.8">23182 3092 480 0,'4'-8'453'0,"0"1"-58"0,-4 7-44 0,9-7-36 15,-9 7-23-15,12 1-15 0,-6 4 2 0,2 0-16 16,1 2-2-16,3 4-26 0,-1 3-22 0,3 1-35 15,0 1-27-15,2 4-28 0,1 3-27 0,1-3-17 16,-1 3-8-16,0 1-18 0,0 0-7 0,2 0-6 16,-2 0-62-16,-2 0-69 0,0-1-78 0,-2-1-39 15,-2-3-55-15,0-1-35 0,-2-2-37 0,-1-1-55 16,-1-3-62-16,1 0-317 0,-2-5-284 0</inkml:trace>
  <inkml:trace contextRef="#ctx0" brushRef="#br0" timeOffset="12518.63">23733 3255 408 0,'17'-8'385'0,"-2"2"-92"16,-2 1-15-16,2 3-66 0,-2 0 3 0,-1 4-64 0,0 1 15 15,1 3-59-15,-1 0 27 0,-3 4-19 0,-3 2-56 16,2 1 51-16,-4 0-39 0,-1 2 26 16,-1-2 14-16,-2 1-14 0,-2 3-1 0,-3-2 13 15,2 1 7-15,-1 0-15 0,-2-2-2 0,3 1-11 0,-1-4 0 16,0 1 13-16,1-3 0 0,-2 0 20 0,4-1 27 15,0-1 43-15,1-7-8 0,7 10 1 0,-7-10-10 16,13 5-27-16,-1-2-12 0,3-3-34 0,-1 0 0 16,5-3-21-16,-2 1-1 0,2 0-30 0,0-2 11 15,-1 1-29-15,1-1 16 0,-2-1-17 0,0 2-16 16,-3-2 10-16,-2 3-8 0,0-1-14 16,-1-1-73-16,-2 1-41 0,-1 0-68 0,0 1-50 0,-8 2-65 15,12-3-49-15,-12 3-33 0,11-4-96 0,-11 4-67 16,9-4-460-16,-9 4-602 0</inkml:trace>
  <inkml:trace contextRef="#ctx0" brushRef="#br0" timeOffset="13084.63">25570 2870 157 0,'0'0'515'15,"-4"-10"-110"-15,4 10-118 0,-6-3 1 16,6 3-24-16,-9 2-29 0,9-2-3 0,-12 8-28 0,6-2-7 15,2 3-1-15,0 1-3 0,0 1-27 0,3 3-15 16,0 0 0-16,2 1-17 0,0 2-18 0,4 0-13 16,-1 0-12-16,4 2-7 0,1 0-15 0,2-1-10 15,0-1-6-15,1-1-11 0,1 0-11 0,0-4-2 16,0-1 0-16,-2-2-6 0,3-2-4 0,0-2 1 16,0-2-6-16,-2-3 1 0,1-2-3 0,3-3-6 15,-3-2 3-15,4-3-4 0,-2-2-1 0,0-3-5 16,-2-1 4-16,2-2-1 0,-2 2-6 0,-1-2-4 15,-2 2 2-15,0 0 17 0,-2 3 36 0,-2 2 15 16,1 1-19-16,-2 2-19 0,-1 1-8 0,-4 7-4 16,6-5 4-16,-6 5 8 0,0 0 6 0,1 11 31 15,-3 0 17-15,0 4 12 0,1 3-3 0,-1 4 24 16,0 3-11-16,0 4 20 0,-1 2 0 0,2 3-15 16,-2 0-5-16,3-1-14 0,-2 1-32 0,-1-1-11 15,3 1 25-15,-1-3-35 0,0-2 28 0,-1-2-43 16,0-1 37-16,-1-2-45 0,3-4 35 0,-2-1-38 15,0-1 2-15,1-1-1 0,1-4 1 0,0 0 5 16,-1-3 5-16,1 0-1 0,-1-2-67 0,1-8-74 16,-2 10-54-16,2-10-89 0,0 0-85 0,0 0-73 0,-1-10-55 15,0 3-132-15,1-4-628 0,-3-1-849 0</inkml:trace>
  <inkml:trace contextRef="#ctx0" brushRef="#br0" timeOffset="14553.72">26820 3173 86 0,'-9'-4'546'0,"0"-1"-146"0,1 1-39 16,8 4-100-16,-6-8-11 0,6 8-48 0,2-10-30 16,2 6-63-16,5-2 2 0,6-1 3 15,2 2-14-15,7-3-25 0,2 1-12 0,6 1-9 16,2 0-9-16,0 1-10 0,0-1-3 0,4 2-4 0,-2 1-25 15,0-1-48-15,-2 2-60 0,2 0-76 0,-6-1-58 16,0 2-84-16,4-3-359 0,-6 2-189 0</inkml:trace>
  <inkml:trace contextRef="#ctx0" brushRef="#br0" timeOffset="14978.71">27730 2855 384 0,'0'0'309'0,"1"-6"-84"0,-1 6-7 16,0 0 0-16,0 0-66 0,0 0 45 0,0 0-43 15,1 11 16-15,2-2-39 0,-3-2 18 0,2 1-25 16,-2 4 0-16,4 0-2 0,-1 1-17 0,2 3-5 16,1-1-36-16,2 2 28 0,2 1-29 0,0-2 11 15,4 1-34-15,-1-2 17 0,1 1-21 0,3-1 10 16,-1-4-27-16,0 1 18 0,0-2-22 0,-3-3 21 15,1-1-26-15,2-2 16 0,-4-3-20 0,2-2 15 16,-1-2-17-16,1-3 15 0,0-2 1 0,0-2-10 16,-2-3-1-16,-2-2-1 0,3-2-2 0,-4 0-7 15,-1 0-14-15,0 2 12 0,-3 1-19 0,1 0 66 16,-4 2 28-16,3 2 1 0,-1 1-35 0,-4 3 2 16,0 6-17-16,3-7 22 0,-3 7 25 0,0 0 34 15,-7 11 16-15,5-2 34 0,-3 4-14 0,-1 3 7 16,1 4-7-16,-1 3-6 0,2 1-12 0,-1 3-2 15,1 2-19-15,-2 3-19 0,2-2-10 0,-1 1-6 16,1 0-14-16,0-1-14 0,-1 0-4 0,1-3 3 0,-1-2-12 16,1 0-6-16,-1-2-29 0,0 0-79 15,1-2-52-15,0-3-77 0,2-2-74 0,-1-2-33 16,-2-2-11-16,4-1-16 0,-2-3-93 0,0-3-137 16,3-5-323-16,-7 4-470 0</inkml:trace>
  <inkml:trace contextRef="#ctx0" brushRef="#br0" timeOffset="15463.92">27847 2493 201 0,'-5'-9'438'0,"1"2"-104"0,-1 3-55 16,0-1-52-16,-4 1-22 0,3 0-25 15,6 4-17-15,-16-2 12 0,16 2-59 0,-19 1 25 16,8 2-54-16,-1-1 29 0,1 3-23 0,-1 1-12 16,-1-1-18-16,3 1-6 0,-3 1 11 0,3 0 3 15,0 0-13-15,0 0-9 0,1-1-6 0,2 1-6 0,1-2-5 16,-3 1-8-16,4 0-9 0,0-2 3 0,0 0-5 15,0-1 2-15,5-3 19 0,-9 7-12 16,9-7 43-16,-7 5 54 0,7-5-16 0,0 0-23 0,0 0-18 16,0 0-11-16,3-8-7 0,2 2-8 0,1-2-10 15,3-2-2-15,0 1-4 0,3-4-5 0,-1 2-7 16,1-2-4-16,3 1 6 0,-3 3-11 16,0-1 11-16,-1 2-18 0,-1-1-3 0,-1 3 1 15,0 2 6-15,-2 0-10 0,-7 4 13 0,16-3-16 0,-16 3 19 16,15 3-7-16,-7 1 4 0,1 2 17 0,-2-1 10 15,2 3 6-15,0 0 9 0,3 3 0 0,-2 0-6 16,3 2-5-16,-2 0-6 0,2 2-2 16,0 0 1-16,0 1 3 0,1 1-10 0,-3-2 6 15,4 1-76-15,-2 0-64 0,-2-1-96 0,1 0-10 0,0 1-75 16,-3-4-76-16,1-1-123 0,-1 0-333 16,-1-2-371-16</inkml:trace>
  <inkml:trace contextRef="#ctx0" brushRef="#br0" timeOffset="18063.99">28666 3077 436 0,'-15'0'400'16,"4"1"-69"-16,11-1-100 0,-20 2-44 0,20-2-36 16,-12 1 9-16,12-1-40 0,-9 3 83 0,9-3-43 0,0 0 17 15,9 5-56-15,2-1 7 0,8-3-44 16,7 3 7-16,3-2-42 0,8 2 21 0,0-2-34 15,4 2 17-15,5-1-34 0,-5 1-23 0,-4-1-86 16,1 1-22-16,-2 1-101 0,-9 0-46 0,-4 0-44 16,-1 3-35-16,-6 1-253 0,-5-1-105 0</inkml:trace>
  <inkml:trace contextRef="#ctx0" brushRef="#br0" timeOffset="18201">28954 3307 9 0,'-29'10'362'0,"-1"0"-71"0,0 0-28 0,0-2-20 15,8-1-6-15,-1 0-46 0,4-3 42 16,4 1-49-16,0-2 25 0,4 1-73 0,2-1-1 0,9-3-60 15,0 0 20-15,0 0-52 0,0 0 26 0,16-1-47 16,0-1 32-16,4-2-47 0,5 1 39 16,6-3-76-16,3 1 3 0,2-2-79 0,2 2-18 15,5-2-72-15,0 0-67 0,0 0-74 0,-2-1-232 16,-5 1-82-16</inkml:trace>
  <inkml:trace contextRef="#ctx0" brushRef="#br0" timeOffset="18751.97">29737 2840 279 0,'0'0'349'0,"-5"-8"-102"16,5 8-54-16,0 0-24 0,-5-4-6 0,5 4-5 0,-1 6 22 16,1-6-24-16,-1 15 19 0,1-2-48 0,0 1 24 15,0 4-62-15,0 2 21 0,0 4-50 0,-2 2 31 16,2 2-14-16,0 0 9 0,0 1-34 16,0-2 38-16,-2 2-33 0,0-2 39 0,1 0-10 15,1 1-2-15,-2-4-17 0,0 0 15 0,0-2-21 0,-1-2 4 16,3-2-21-16,-1-3 8 0,0 0-13 15,-1-3 26-15,2-1 20 0,-2-2 34 0,1 1 19 0,1-3 16 16,1 0-21-16,3-2-27 0,2 0-19 16,2-1-19-16,3-2-10 0,2-1-10 0,1-1-6 15,3 0-14-15,1 0 0 0,3-1-12 0,1 0 1 0,4 0-4 16,-3-2 2-16,4 0-5 0,-2 1 2 0,-1 0-14 16,-1 1-77-16,-3-2-46 0,-1 2-70 0,-3-1-42 15,0 1-93-15,-5-1-6 0,3 0-89 16,-4-1-92-16,-10 3-343 0,11-7-410 0</inkml:trace>
  <inkml:trace contextRef="#ctx0" brushRef="#br0" timeOffset="18932.99">29780 3184 563 0,'-6'-3'387'0,"6"3"-33"15,-5-7-96-15,5 7 4 0,3-9-68 0,3 4 18 0,3 1-65 16,5-3 1-16,2 2-60 0,0-1 19 0,6-1-55 15,1 1 22-15,0 1-42 0,0-2-8 0,-3 1-88 16,2 2-32-16,-3-1-101 0,-5 1-64 16,2-1-92-16,-5 1-252 0,0-1-120 0</inkml:trace>
  <inkml:trace contextRef="#ctx0" brushRef="#br0" timeOffset="19116.99">29791 2906 207 0,'-17'-8'414'0,"2"0"-81"0,2 1-16 15,-1-2 11-15,3 2-68 0,2-1-10 0,0 1-57 0,3 0-12 16,2-2-59-16,2 3-4 0,2-1-51 0,4 0-15 16,3 0-9-16,3 1 27 0,3-2-50 0,3 4 1 15,5-2-6-15,4-1-12 0,-1 4-50 0,3-1-31 16,1 1-44-16,-1 2-34 0,1 0-34 16,-2-1-53-16,-2 2-29 0,-1 0-32 0,-1 0-198 15,-1 0 3-15</inkml:trace>
  <inkml:trace contextRef="#ctx0" brushRef="#br0" timeOffset="19508.15">30249 2835 227 0,'7'12'280'16,"1"1"-43"-16,0 4-18 0,1 1 8 0,-2 3-51 15,3-1 2-15,-1 6-19 0,0 0 18 0,1 0-61 16,-2 0 22-16,1 1-60 0,-2-3-7 0,-1-2-19 0,-2 2 1 16,-2-2 9-16,0-3-27 0,-1-1 10 0,-2 0-15 15,-1-2 26-15,0-2-20 0,-2 1 43 16,0-4-27-16,-2-3 28 0,1 1-36 0,-2-4 38 15,7-5-40-15,-13 5 24 0,13-5-14 0,-14-2 16 16,7-2-36-16,0-2 15 0,0-2-27 0,2-2 20 0,-1-2-33 16,4-2 18-16,1-1-28 0,-1 0 23 0,5-2-28 15,1 0 30-15,2-3-32 0,4 2 21 16,1-1-24-16,0 1 28 0,8-2-29 0,-3 1 27 0,0 5-25 16,3-3 24-16,-1 4-26 0,1 0 25 15,-1 1-26-15,1 0 27 0,1 3-28 0,-1-1 26 16,0 1-24-16,0 0 26 0,-1 1-31 0,-1 2 38 0,-1 0-34 15,1-1 27-15,-2 1-31 0,-1 1 33 16,0-1-29-16,0 0 0 0,-1 1 5 0,-4 2 4 16,2-2 6-16,-1 1 1 0,-3 0-1 0,3 1 0 15,-10 3-2-15,11-7 4 0,-11 7-2 0,11-6 3 16,-11 6-4-16,9-5-1 0,-9 5 3 0,5-4-2 0,-5 4-46 16,0 0-42-16,4-4 7 0,-4 4-76 0,0 0-21 15,0 0-37-15,-14 0-52 0,14 0-74 16,-13 3-279-16,13-3-130 0</inkml:trace>
  <inkml:trace contextRef="#ctx0" brushRef="#br0" timeOffset="20546.74">30792 2842 9 0,'0'0'393'0,"0"-7"-86"0,0 7-62 16,-4-6-34-16,4 6-44 0,0 0-31 0,-8-6-29 16,8 6-19-16,0 0-15 0,-11 1 16 0,11-1-7 0,-9 4-9 15,9-4-9-15,-7 6-19 0,7-6-3 16,-8 8 15-16,8-8-5 0,-8 8 19 0,8-8-40 16,-7 8 28-16,7-8-35 0,-5 7 31 0,5-7-26 0,-7 7 27 15,7-7-23-15,-7 5 43 0,7-5-31 0,-4 4 48 16,4-4-35-16,0 0 20 0,0 0-38 15,-9 2 16-15,9-2-37 0,0 0 28 0,-5-6-32 16,5 6 16-16,-5-7-37 0,5 7 29 0,0-10-29 16,0 10 0-16,0-10 0 0,0 10 1 0,0-10-3 15,0 10-1-15,3-11 12 0,-3 11-1 0,2-11-5 16,-2 11 3-16,0-8-3 0,0 8 1 0,3-10-4 16,-3 10 7-16,4-7 1 0,-4 7-5 0,2-7-4 15,-2 7 10-15,3-6-3 0,-3 6-6 0,0 0-6 16,2-7 5-16,-2 7 1 0,0 0 1 0,0 0 4 15,3-7-2-15,-3 7-5 0,0 0-1 0,0 0 7 16,0 0 0-16,0 0 2 0,0 0-3 0,0 0 5 0,5-4-1 16,-5 4 3-16,0 0-1 0,0 0-5 15,0 0-6-15,0 0-4 0,0 0 16 0,0 0 3 16,0 0 0-16,0 0-5 0,0 0-1 0,11 1 2 16,-11-1-3-16,0 0 4 0,0 0-3 0,9-3-4 15,-9 3-4-15,0 0 10 0,11-1 2 0,-11 1-6 16,0 0-5-16,12-1 6 0,-12 1 0 0,0 0-1 15,13 0-7-15,-13 0 3 0,0 0-5 0,16 2-6 16,-16-2 13-16,11 8 3 0,-4-2 4 0,0 1-8 16,1 3-5-16,1 1 36 0,-1 1-32 0,0 3 34 15,0 3-31-15,0 1 38 16,-2 2-20-16,4-1 29 0,-5 1-28 0,2 1 20 0,-2 1-31 0,0-1 5 0,-2 2-7 16,-1-3 5-16,-2-2 0 0,0 0 0 0,0 1-1 15,-5-2 1-15,3-2 5 0,-5 0-1 16,3-1-3-16,-5-2 1 0,-1-1 23 0,2-2 15 15,-2-1 7-15,1-3 7 0,0-1-2 0,0-2 3 16,-1 0-8-16,10-3 13 0,-15-1-17 0,7-3-9 16,-1-1 2-16,2-1-18 0,0-2 5 0,3-1-18 15,-1-2 6-15,4 0-15 0,0-2 6 0,1-1-9 16,2-1 10-16,2 0-9 0,1-1 5 0,4-2-16 16,1 2 11-16,2-1-12 0,1 2 13 0,2-1-14 15,0 1 2-15,2 1-4 0,1 1 5 0,-3 0 5 16,4 0 0-16,-1 3-10 0,0 0 3 0,-2 0 5 15,-1 1 2-15,0 1-4 0,0 0 1 0,-2 1 6 16,1 0-2-16,-2 0-2 0,1 1 7 0,-1 1-1 16,-1-1-7-16,0 2 0 0,-1 0 0 0,-1-1 3 15,0 1-2-15,-1 0 1 0,-1 1 1 0,-7 3 4 16,13-6-4-16,-13 6 5 0,12-5 1 0,-12 5-2 16,9-4 8-16,-9 4 8 0,9-4 1 0,-9 4-2 0,9-4-1 15,-9 4 2-15,6-3 0 0,-6 3 0 16,5-4-4-16,-5 4-4 0,0 0-5 0,9-5 1 15,-9 5 5-15,0 0 0 0,5-5-1 0,-5 5-3 16,0 0-2-16,5-4-1 0,-5 4-1 0,0 0 3 16,0 0 0-16,7-5-2 0,-7 5-2 0,0 0-3 15,0 0 1-15,4-4-3 0,-4 4 5 0,0 0 0 16,0 0 1-16,0 0-5 0,3-6 1 0,-3 6-3 16,0 0 4-16,0 0 1 0,0 0-1 0,0 0-5 15,0 0-1-15,0 0 2 0,0 0-1 0,3-4-2 16,-3 4-60-16,0 0-58 0,0 0-19 0,0 0-24 0,0 0-7 15,0 0-6-15,0 0-9 0,-5 4-13 16,5-4-36-16,-5 5-32 0,5-5-55 0,-6 3-8 16,6-3-228-16,0 0-75 0</inkml:trace>
  <inkml:trace contextRef="#ctx0" brushRef="#br0" timeOffset="20909.41">31340 2766 279 0,'0'0'363'0,"4"-6"-88"16,-4 6-39-16,0 0-33 0,0 0-9 0,0 0-25 16,-12 3-8-16,7 3-8 0,-2 1-22 0,-1 2-19 0,-2 1-13 15,1 2 35-15,1 2-53 0,0 0 34 16,1 1-30-16,2 1 18 0,-1 1-35 0,5 1 5 16,-1 0-14-16,3 0 17 0,0 1-27 0,4 2-2 15,1-1-4-15,2 2-7 0,0-4-3 0,2 1 1 16,-1-4-7-16,4 1-4 0,-3-3 0 0,2-1-2 15,-1-3 4-15,-2-1 1 0,3-3 18 0,-3-1 20 16,0-2-8-16,-9-2-8 0,17-3-8 0,-8-2-7 16,-2-2 5-16,0-2-20 0,-3-3 7 0,1-1-16 0,-3-2 13 15,0-2-21-15,-2 1 11 0,0-1-15 0,-2-1 2 16,-1 1-3-16,-1-1 1 0,-2 1 7 0,-2 0 3 16,2 3-3-16,-2-1-1 0,-2 3-5 15,1 1 0-15,-1 1 3 0,-2 2-2 0,1 1 3 16,0 0-50-16,0 4-71 0,2 0-48 0,-1 2-28 0,10 1-31 15,-17 1-21-15,17-1-40 0,-11 4-46 16,11-4-76-16,-7 7-200 0,7-7-121 0</inkml:trace>
  <inkml:trace contextRef="#ctx0" brushRef="#br0" timeOffset="21508.5">31661 2804 342 0,'0'0'345'0,"1"-8"-78"16,-1 8-59-16,0 0-9 0,0 0 2 0,10 2 5 16,-5 3-11-16,2 2-29 0,-1 1-7 0,-1 5 12 15,2 0-49-15,0 2 20 0,2 4-29 0,-2 1 23 16,-1 0-48-16,2 1-12 0,-2 0-16 0,-1 1-5 0,-2-1-6 16,-1-3-10-16,-2 0-1 0,0-1-8 15,0-2-5-15,-2 0 2 0,-1-1 6 0,-1-3 24 16,-1-1 10-16,-2-2 18 0,2-2 14 0,-1-1-8 15,6-5-2-15,-9 4-9 0,9-4-8 0,-10-4-17 16,5-1-11-16,3 0-8 0,0-4-5 0,2-2-7 16,0-1 3-16,4-1-12 0,1-3 2 0,3-1-11 15,3-1-4-15,1 1 0 0,4-1-6 0,4-1-1 16,0 2-1-16,1 2-1 0,-2 3 7 0,0 1 0 16,1 0-8-16,1 3-74 0,-3 1-58 0,-1 0-59 15,0 4-25-15,0 2-31 0,-3 0-33 0,0 1-53 16,-1 1-85-16,1 1-337 0,-3 0-279 0</inkml:trace>
  <inkml:trace contextRef="#ctx0" brushRef="#br0" timeOffset="22378.53">32212 2738 137 0,'3'-10'321'0,"3"2"-45"0,-4 1-26 0,1 0-5 16,-3 7-53-16,6-9-62 0,-6 9-27 0,0 0-5 15,0 0 22-15,0 0 29 0,0 0-14 0,-10 7 24 16,2 2-31-16,0 1 8 0,-2 2 5 0,1 4 11 15,-4 1-3-15,1 1-2 0,2 1-16 0,-3 4-18 16,1-1-17-16,2 2-14 0,2 0-10 0,-2-3-11 16,6 3-10-16,-1 0-5 0,3 0-7 0,0 0-11 15,0 0-3-15,3 0 0 0,0 0-4 0,1-1-3 16,0-1 2-16,1 1-31 0,1-5-50 0,1 0-38 16,0-3-46-16,1-1-30 0,1-2-22 0,0 0-26 15,2-3-43-15,-1-2 3 0,1-4-50 0,-9-3-7 16,16 2-284-16,-7-5-114 0</inkml:trace>
  <inkml:trace contextRef="#ctx0" brushRef="#br0" timeOffset="22698.85">32379 2960 412 0,'6'-8'314'0,"-2"0"-61"16,-1 3-68-16,-3 5 14 0,6-5 5 0,-6 5-23 16,0 0-8-16,0 0-26 0,0 0-16 0,9 4-4 15,-9-4 25-15,5 6-47 0,0-1 6 0,0 0-20 16,2 0-7-16,1-1-7 0,2 3-8 0,-1-3-9 15,1 2-9-15,1-2-6 0,1 0-12 0,-2-2-4 16,3 0-6-16,-2 0 3 0,2-4-7 0,-1 1-2 16,-1-1 1-16,3-2-2 0,-2-2-3 0,1-1-5 15,-1-2-4-15,1 0-1 0,-3-1 43 0,1 1-57 16,-4 0 47-16,1 1-43 0,-2-1 90 0,1 3-33 16,-2-1 18-16,1 3-53 0,-6 4 30 0,4-4-19 15,-4 4 49-15,0 0-21 0,-5 3 28 0,1 2 2 16,0 2-12-16,-1 3-6 0,0 0-5 0,-1 3-3 15,1 1-10-15,-1 2-5 0,3 0-11 0,-3 5-2 16,3 1 1-16,-1 1 44 0,-1-1-75 0,1 1-56 16,1 0-99-16,-1 0-30 0,3-4-86 0,-1 0-20 15,0 0-38-15,2-2-87 0,-1 0-48 0,1-4-291 16,1-1-264-16</inkml:trace>
  <inkml:trace contextRef="#ctx0" brushRef="#br0" timeOffset="23144.44">32822 3165 333 0,'12'-7'262'0,"-2"-1"-20"0,4 2-76 0,0-1 1 0,0 0-64 15,1 0-5-15,2 0-37 0,-1 1 17 0,0 0-35 16,5-3 16-16,-2 2-44 0,1-1 23 0,-2-1-43 16,1 0 20-16,-1-1-37 0,0 1 36 0,0-1-38 15,-4 1 34-15,1-1-30 0,-2 3 48 0,-1-1 6 16,-3 1 48-16,-2 3-6 0,1-2 0 15,-2 2-7-15,-6 4 14 0,4-5 3 0,-4 5 15 0,0 0-10 16,0 0-17-16,0 0-3 0,0 0-9 0,-9 5 7 16,9-5-11-16,-5 10-7 0,3-4-3 0,0-1 8 15,2 3-1-15,0-1-9 0,0 0-1 0,3 3-7 16,0-2 1-16,0-1 36 0,2 2-53 0,-1-2 36 16,1-1-50-16,2 1 47 0,-1-4-44 15,3 1 39-15,-9-4-48 0,14 4 41 0,-14-4-50 0,17-1 39 16,-7 0-49-16,0-5 29 0,0 2-52 0,-1-1 4 15,3-2 2-15,-4 1 7 0,0-1 9 0,0 1 0 16,-1 1 4-16,-1-1 27 0,0 2-4 0,-6 4-4 16,9-4 0-16,-9 4 32 0,0 0 12 0,0 0 17 15,0 0 16-15,0 9 45 0,-1-2-47 0,-2 2 27 16,0 0-53-16,-1 3 24 0,-1 2-43 0,2 0 29 16,-3 1-46-16,2 0 35 0,-3 2-44 0,2 1 41 15,-5 0-46-15,4 0-4 0,-2-1-126 0,0-2 7 16,0-2-97-16,0 0-39 0,0 0-35 0,-2-3-56 15,1-1-64-15,1-2-355 0,-1-3-280 0</inkml:trace>
  <inkml:trace contextRef="#ctx0" brushRef="#br0" timeOffset="23496.01">33175 2661 341 0,'0'0'389'0,"-9"-2"-76"0,9 2-16 16,-14 3-56-16,7-1-31 0,1 3 11 0,-1 1-54 16,0 1 17-16,0-1-24 0,3 2-26 0,-1-1-55 15,0 0 25-15,1 2-51 0,1-4 31 0,-1 2-49 16,1-1 46-16,3-6-46 0,-2 9 42 0,2-9-52 16,2 7 37-16,-2-7-46 0,7 5 34 0,-7-5-7 15,13 0-7-15,-13 0-8 0,18-5-7 0,-7 2-2 16,0-1 0-16,3-1-9 0,-1-1-4 0,-1 2-1 15,-3 0-2-15,0 0 0 0,1 1 9 0,-3 0-21 16,-1 1-8-16,-6 2 3 0,13-2-1 16,-13 2 10-16,11 2-1 0,-11-2 7 0,8 8 0 0,-5-1 2 15,2 1-2-15,-3 0 4 0,3 2-1 0,-3 0-37 16,0 0 51-16,2 1-39 0,-3 1 49 0,3 1-115 16,-3-2-63-16,1 1-55 0,0 0-76 15,0-1-122-15,0 0-352 0,-2-3-267 0</inkml:trace>
  <inkml:trace contextRef="#ctx0" brushRef="#br0" timeOffset="23679.01">33603 2710 519 0,'11'-6'458'0,"-1"2"-112"16,-1 1-9-16,-9 3 17 0,16 0-15 0,-5 2-24 0,-2 3-48 15,2 3-29-15,-1 0-34 0,-1 4-35 0,1 1-33 16,-1 4-62-16,-1 2 29 0,-3 2-59 0,3 0-3 15,-4 3-37-15,-2 0-36 0,-1 1-119 0,-3 2-26 16,-2 4-61-16,-5 0-99 0,-2 5-77 16,-7 0-407-16,0-4-356 0</inkml:trace>
  <inkml:trace contextRef="#ctx0" brushRef="#br0" timeOffset="26376.72">21347 4711 160 0,'-4'-6'329'0,"3"-1"-12"0,-1 0-46 0,0 0-47 0,1 0-27 16,0 0-44-16,-1 0 21 0,2 7-30 0,-1-12 14 15,1 12-21-15,-1-12-23 0,1 12-19 16,0-7-19-16,0 7-27 0,-1-7-11 0,1 7 36 0,0 0-3 15,3 7 14-15,0-1-7 0,-2 5 27 0,2 1-17 16,-2 5-10-16,-1 1-3 0,0 3 5 0,1 4-3 16,-1 1-5-16,-1 1-11 0,1 1 0 0,0-1-20 15,0 1 5-15,1 0-12 0,1-1 3 0,-1 1-11 16,0-2 6-16,1 1-9 0,0-2 5 0,-2-1-6 16,4-1-84-16,0-2-42 0,-2-1-45 0,0-4-56 15,0 1-36-15,1-1-69 0,-1-6-21 0,1 2-99 16,-1-4-233-16,2-3-171 0</inkml:trace>
  <inkml:trace contextRef="#ctx0" brushRef="#br0" timeOffset="27600.55">21447 4625 191 0,'-4'-4'330'0,"-2"0"-37"16,6 4-30-16,-8-4-18 0,8 4-49 16,-6-6-4-16,6 6-36 0,0 0-9 0,-8-5-44 15,8 5-9-15,0 0-27 0,0 0 0 0,9-6-17 0,-9 6 14 16,11-1-11-16,-11 1 4 0,22 0-8 0,-9 0-23 15,2 0 28-15,5 0-6 0,2 0 5 0,7 0-5 16,0 0 4-16,3 1-23 0,6-1 13 0,3 1-12 16,3-1 5-16,4 0-14 0,5 1 10 15,2 0-14-15,1-1 11 0,4-1-15 0,-1 2 12 0,3-1-10 16,1 2 8-16,3-2-20 0,9 1 24 0,1 0-16 16,0 1 11-16,-12-1-12 0,12 0 13 0,-2 0-16 15,-10 1 12-15,13-1-17 0,-2 2 16 0,-11-3-17 16,10 2 16-16,-10-1-18 0,1 1 17 0,-2-1-18 15,-2 0 17-15,1 1-23 0,-5-1 21 0,2-1-20 16,-2 0 19-16,-3 0-18 0,-1-1 16 0,0 1-18 16,-3-2 18-16,1 1-16 0,-1 0 16 0,-9-1-22 15,6 0 20-15,-3 1-6 0,-3 1 15 0,1-3-18 0,-1 2 21 16,-2-1-17-16,3 0 23 0,-3-1-14 16,-1 2 23-16,2-2-17 0,-1 1 16 0,0 0-18 0,-2 0 14 15,1-1-16-15,2-1 9 0,-2 3-15 16,0-1 14-16,2-1-12 0,1 1 14 0,-3 1-15 0,3-2 11 15,1 2-11-15,-1-1 10 0,3 1-15 0,4-2 12 16,3 2-7-16,-3 0 12 0,1 0-8 0,0-1 9 16,1 1-6-16,-8 1 4 0,3-1-7 0,-2 0 5 15,1-1-8-15,-3 2 8 0,1-1-9 0,1 0 6 16,-2 0-11-16,0 0 11 0,0 0-7 0,-2-1 7 16,1 1-6-16,2-1 3 0,-3 2-5 0,0-2 2 15,0 0-6-15,0 1 4 0,1 0-5 0,-2-1 1 16,-1 1-1-16,3 0 4 0,-3-1-6 0,0 1 4 15,0-1-6-15,1 1 8 0,-1 0-6 0,0 0 1 16,2 0-6-16,0 0 6 0,1 1-3 0,-2-2 4 16,2 1-5-16,1 1 5 0,-1-1-6 0,-1 1 7 15,3 0-5-15,-3-2 1 0,0 2-5 0,1 0 8 16,-1 0-2-16,1 0 1 0,1 0 0 0,0 0 1 16,-1 2-1-16,-1-2 0 0,2 0-2 0,-1 1 3 15,-1-1-3-15,0 0 4 0,0 0-5 0,0 0 4 16,-2-1-3-16,1 1 0 0,2 0-2 15,-3-2-5-15,0 2 6 0,1 0 7 0,-6-1-5 0,0 1 3 16,0 0-9-16,-1 0 10 0,-2 0-4 0,-1-1 6 16,-1 0-8-16,-3 0 4 0,-2 1-6 0,0-3 5 15,-2 2-4-15,3 0 3 0,-5 0-4 0,1 0 9 16,2 0-6-16,-3-1 5 0,-1 1-6 0,0 0 4 16,2-1-5-16,0 1 6 0,-3 1-6 0,2-1 6 15,0 1-4-15,-1 0 2 0,0-1-6 0,2 1 9 16,0-1-6-16,-1 1 7 0,1 0-7 0,-2 0 7 15,2 0-9-15,0-1 7 0,-1 1-6 0,1-2 8 16,-4 2-10-16,2-1 8 0,-2 1-4 0,0-1 6 16,-1 0-7-16,1 1 2 0,-1-1-3 0,0 0 4 15,0-1-1-15,-1 1-6 0,0-2 5 0,-2 2 3 16,3 0-5-16,-1 0 3 0,0 0-1 0,-1 0-2 16,-1-2 4-16,2 1-4 0,-2 1 3 0,1-2-1 15,-1 2 1-15,0-2-3 0,0 2 4 0,-1-1-1 16,1 2 1-16,-11 0-3 0,20-4 2 0,-11 3 0 15,-9 1-3-15,16-2 3 0,-16 2-2 0,15-2 2 16,-15 2-6-16,14-2 6 0,-14 2-2 0,10-1 2 16,-10 1 0-16,0 0 0 0,13-3-3 0,-13 3-1 15,0 0 7-15,12-1-2 0,-12 1-1 16,0 0-1-16,0 0 7 0,11-1 7 0,-11 1 4 16,0 0 1-16,0 0 1 0,0 0-8 0,0 0 1 0,0 0-4 15,11-1-3-15,-11 1 0 0,0 0-5 0,0 0 1 16,0 0 4-16,0 0 0 0,0 0 4 0,0 0 6 15,0 0 6-15,0 0 8 0,0 0 15 0,0 0-3 16,0 0 8-16,0 0-7 0,0 0 12 0,0 0-12 16,0 0 3-16,10 0-16 0,-10 0 9 0,0 0-19 15,0 0 8-15,0 0-16 0,0 0-5 0,0 0-103 16,0 0-90-16,-6-3-79 0,6 3-82 0,-15 0-116 16,15 0-577-16,-22-1-657 0</inkml:trace>
  <inkml:trace contextRef="#ctx0" brushRef="#br0" timeOffset="30168.74">21350 5124 4 0,'0'0'277'0,"0"0"-50"0,0-8-22 0,0 8-22 15,0 0-1-15,0-10-11 0,0 10-10 0,0 0-16 0,0-7-14 16,0 7-16-16,0 0-1 0,1-7-12 16,-1 7-5-16,0 0-25 0,0 0-14 0,0 0-16 15,0 0-16-15,0-7-15 0,0 7-8 0,0 0 26 16,0 0 8-16,0 0-15 0,4 8 11 0,-4-8 34 15,5 11-1-15,-4-4 6 0,1 2-13 0,0 0 17 16,-2 2-13-16,3-1 3 0,-3 1-5 0,2 2 6 16,-2-1-5-16,2 2-18 0,-2 0 9 0,1-1-23 15,-1 1 13-15,1 0-25 0,-1 1 18 0,1-3-23 16,1 2 8-16,-2-1-17 0,1-1 20 0,0-1-21 16,-1 1 9-16,0-3-12 0,2 2 17 0,-2-4-21 15,0 2 18-15,1-2-17 0,0-1 14 0,-1-6-13 16,0 12 21-16,0-12-18 0,4 9 25 0,-4-9-10 15,6 9 18-15,-6-9-23 0,12 6 17 0,-12-6-21 16,16 3 13-16,-4 1-19 0,-1-2 18 0,5-1-21 16,-1 0 16-16,6-1-18 0,0 1 18 0,0 0-19 15,6 0 17-15,-1 1-16 0,4-2 15 0,-1 1-13 0,3-1 15 16,5 1-18-16,-1 0 16 0,2 1-15 0,-1 0 15 16,2-2-14-16,0 2 13 0,2-2-17 15,0 2 17-15,0-2-18 0,2 1 20 0,1-1-21 16,-1 0 20-16,1-1-19 0,7 1 19 0,-2-2-19 0,0 1 15 15,0-2-23-15,-6 3 25 0,7-1-16 0,-8 0 18 16,2 0-22-16,4 0 18 0,-5-2-10 16,1 3 13-16,4-2-16 0,0 1 16 0,-4 1-17 15,4-1 14-15,1 0-15 0,1-1 19 0,-1 1-17 0,1 1 16 16,-1-1-19-16,1 2 16 0,-2-2-16 0,3-1 17 16,-1 2-19-16,-6 0 22 0,-1-1-14 0,1 1 14 15,7 0-21-15,-7 0 18 0,6 1-17 0,-5-1 23 16,4 0-22-16,0 2 17 0,-6-1-19 0,1 0 19 15,5 1-17-15,-6-1 17 0,-2 0-20 0,1-1 19 16,0 1-15-16,1 0 17 0,-4 0-21 0,5-1 18 16,-6 2-12-16,3-1 16 0,0-1-14 0,-3 1 12 15,1-1-17-15,0 0 16 0,-1 0-17 0,2 1 17 16,-3-1-17-16,-1 0 17 0,4 0-17 0,-3 0 16 16,0 1-19-16,0-1 18 0,0 0-15 0,1 0 19 15,-1-1-20-15,-5 1 19 0,7 0-18 0,-2-1 18 16,1 1-15-16,-2 0 16 0,1 0-17 15,-4-1 16-15,3 1-17 0,0 0 17 0,-2-1-21 0,-1 1 22 0,-1 0-17 16,0-2 18-16,-1 2-19 0,1 0 17 0,1 0-16 16,-2 0 15-16,1 0-21 0,0 0 28 15,0 0-33-15,0 0 27 0,-2 0-19 0,2 0 19 16,0 0-21-16,-1 0 16 0,1 0-11 0,0 0 13 0,0 0-13 16,-2 0 15-16,2 0-15 0,-1-1 10 15,0 1-11-15,-1-1 19 0,1 1-21 0,-2-1 18 16,1 1-13-16,-1-2 12 0,2 0-17 0,0 1 17 0,-2-2-14 15,0 1 16-15,1 0-15 0,0 1 15 0,1-2-17 16,4 0 19-16,0 2-18 0,1-2 21 0,1-1-19 16,0 2 17-16,0 0-16 0,2-1 16 0,-2 1-20 15,2 1 21-15,-2-2-16 0,0 2 15 0,1-3-17 16,-3 3 17-16,2 0-14 0,-5-1 9 0,-2 0-11 16,0 1 14-16,0 0-14 0,-3 0 16 0,1 0-13 15,1 0 14-15,-3 1-19 0,0-2 17 0,1 1-10 16,-4 1 13-16,-1-1-14 0,4-1 12 15,-3 1-13-15,0 1 9 0,-3-1-6 0,3 1 9 0,0 0-10 16,-2-1 15-16,0 1-23 0,0 0 18 0,0-1-10 16,-3 1 13-16,3 0-12 0,-2 0 9 0,0 0-11 15,1 0 14-15,0-1-14 0,0 1 11 0,1 0-11 16,-2-2 11-16,1 2-10 0,2 0 9 0,-3-1-10 16,2 1 10-16,0 0-12 0,-1 0 9 0,1 0 0 15,0 0 1-15,-1 0-8 0,2 0 8 0,-2 0-7 16,0 1 9-16,1-1-6 0,0 0 7 0,-2 0-6 15,1 0 5-15,1 0 8 0,-3 0 6 0,1-1-2 16,-1 1 1-16,-2 0-9 0,0 0 3 0,0 0-6 16,-3-1 1-16,4 1-2 0,-2 0 0 0,2 0-8 15,-3 0 4-15,2 0-3 0,0 0 5 0,0 0-10 16,1-1 7-16,-2 1-3 0,3 0 3 0,-4 0-4 16,5 0 4-16,-5 0-8 0,4 0-1 0,-2 0 4 15,0 0 4-15,0 0-4 0,1 0 6 0,-2 0-5 16,1 0 4-16,-2-1-5 0,1 1 11 15,0 0 0-15,-2-1 0 0,0 1-3 0,1-2 7 0,-1 2-10 16,-3-1 7-16,3 0-16 0,-3 0 18 0,2-2-8 16,1 2 3-16,-3 0-5 0,-10 1 5 0,22-3-15 15,-12 2 16-15,1 0-8 0,-11 1 9 0,18-2-15 16,-6 1 14-16,-3-2-6 0,-9 3 8 0,15-1-6 16,-15 1 11-16,18-5-11 0,-18 5 13 0,14-4-4 15,-14 4 16-15,15-2-7 0,-15 2 16 0,12-5-14 16,-12 5 12-16,11-3-20 0,-11 3 12 0,9-7-20 15,-9 7 12-15,8-5-5 16,-8 5 2-16,5-6-8 0,0 1-3 0,-5 5-16 0,5-7 17 0,-5 7-18 16,5-9 19-16,-1 3-18 0,-4 6 17 0,4-10-18 15,-3 3 15-15,2 1-16 0,-2 1 17 0,2-3-17 16,-2 1 16-16,-1-1-12 0,3 0 12 0,-2 0-16 16,1-3 10-16,-2 3-9 0,2-4 14 0,-1 1-15 15,0-1 3-15,-1 0-2 0,0-1 4 0,1 0 4 16,1-4 3-16,0 1-3 15,0-2-3-15,0 0 1 0,-1-2 3 0,3-2-3 0,-1-1-1 0,-2-1 7 16,4 2-5-16,-1-2 6 0,-1 0 2 0,-1-1 30 16,2 2-7-16,-1-2 10 0,-1 0-21 0,3 1 11 15,-2 2-19-15,-1-2 9 0,2 2-15 0,0 1 4 16,-3 2-8-16,3 1 13 0,-1 0-16 0,-1 1 15 16,0 0-17-16,-1 1 12 0,1 0-13 0,0 1 13 15,-2 1-17-15,2 2 6 0,-2 1 0 0,0-2 1 16,0 2 1-16,2 2 0 0,-2-1-2 0,0 2 1 15,0 0 4-15,-2 0-4 0,2 1-2 16,0 7 7-16,0-12-4 0,0 12 0 0,0-12 4 0,0 12-3 16,-1-9 1-16,1 9 1 15,-1-8 0-15,1 8-1 0,0 0 1 0,1-9-4 0,-1 9 3 0,0 0 0 16,-1-9 2-16,1 9-4 0,0 0 4 16,0 0-4-16,0-7 0 0,0 7-7 0,0 0-16 0,0 0-14 15,-2-7-7-15,2 7-9 0,0 0-14 0,0 0-4 16,0 0-24-16,0 0-40 0,0-6-55 0,0 6-58 15,0 0-82-15,0 0-78 0,0 0-103 0,0 0-309 16,-13-1-358-16</inkml:trace>
  <inkml:trace contextRef="#ctx0" brushRef="#br0" timeOffset="69151.08">9514 12593 108 0,'-60'-45'156'0,"-13"-11"-102"0,-3-3-42 15,0-2-124-15,-2-4 36 0</inkml:trace>
  <inkml:trace contextRef="#ctx0" brushRef="#br0" timeOffset="73116.37">15532 9700 148 0,'-78'-22'376'16,"-1"-3"-74"-16,0-3-37 0,0-1-60 0,3-4-41 0,0-2-28 15,4-1-25-15,3-1-26 0,0-1-13 16,8-2-45-16,1-2 30 0,6-1-39 0,2-2 22 0,3-4-10 16,7 0-5-16,5-5-15 0,3-1 4 0,8-5-1 15,4-3-14-15,7 0-6 0,3-2-10 16,10-2-27-16,4 10-38 0,8-10-7 0,2 4-27 16,7-2-21-16,3 1 2 0,7 3-114 0,3-1-140 0,4 3 158 15</inkml:trace>
  <inkml:trace contextRef="#ctx0" brushRef="#br0" timeOffset="73366.37">15577 8245 234 0,'-23'-5'224'16,"0"-1"-49"-16,1-3-41 0,-2-2-29 0,0-3 24 0,0-1-54 15,3-3 21-15,-1-1-45 0,3-1 21 0,1-2-47 16,0-1 27-16,3-2-39 0,1 0 25 0,4-1-40 16,3-1 31-16,0 1-61 0,4 3-38 15,-1-4-132-15,6 2-160 0,-2 0 179 0</inkml:trace>
  <inkml:trace contextRef="#ctx0" brushRef="#br0" timeOffset="75764.33">13764 1723 83 0,'-7'-16'511'0,"3"0"-82"0,-2 2-71 0,2 1 0 0,-1 3-84 15,2 0-25-15,1 3-98 0,-1 1-6 0,3 6-37 16,-4-5 85-16,4 5-23 0,0 7 22 0,2-1-21 0,-1 4-18 16,2 2 20-16,2 3 7 0,1 0-3 0,1 4-23 15,1 2-20-15,3-1-31 0,-1 5-17 16,5 1-17-16,-1-1-10 0,3 0-9 0,0 4-4 0,2-1-16 16,0 1 6-16,-2-5-43 0,-1 2-52 15,0-1-55-15,0-1-56 0,-2 2-41 0,0-2-47 0,-1-1-65 16,-4-2-49-16,0-1-86 0,-1-1-444 0,-5-4-465 15</inkml:trace>
  <inkml:trace contextRef="#ctx0" brushRef="#br0" timeOffset="75991.32">13668 2447 517 0,'-17'11'533'0,"0"-1"-12"0,4-2-40 0,2-1-17 0,2-2-57 16,9-5-43-16,-7 4-37 0,7-4-18 0,10-5-36 15,1-1-35-15,11-4-38 0,6-3-30 0,11-3-24 16,3-2-28-16,10-3-16 0,3-3-17 0,1 0-22 16,-1 1-2-16,2-1-17 0,-4 3-4 0,-9 3-14 0,-2 0-3 15,-4 2-48-15,-1 0-51 0,-10 4-39 16,-4 4-46-16,-4 0-64 0,-2 0-56 0,-4 3-8 0,-2 2-54 16,-11 3 21-16,9-4-52 0,-9 4-26 15,0 0-54-15,-4 6-322 0,-4 0-294 0</inkml:trace>
  <inkml:trace contextRef="#ctx0" brushRef="#br0" timeOffset="76680.5">14055 2705 15 0,'0'0'451'0,"-13"4"-70"0,8 0-68 0,5-4-16 16,-14 7-95-16,14-7-6 0,-9 7-66 0,9-7 39 15,-9 8-13-15,5-3-64 0,4-5 14 0,-2 9-61 16,2-9 46-16,1 8 0 0,-1-8 2 0,4 7-8 16,-4-7-15-16,9 5-25 0,-9-5 9 0,13 2 1 15,-13-2-33-15,16-1 32 0,-16 1-28 0,18-4 23 16,-10-2-34-16,1 3 20 0,-2-4-21 0,4-1 20 16,-4-1-26-16,-3-1 20 0,1 1-28 0,-1-3 21 15,-4 0-27-15,0 0 24 0,-1 0-19 0,-6 0 10 16,2 1-23-16,-4 0 23 0,-1 4-24 0,-4 0 29 15,0 2 1-15,-1 4 36 0,-4 1 14 0,0 5 52 16,-1 1 0-16,-1 4 8 0,0 5 9 0,-1 1-7 16,3 4 9-16,1 0-5 0,4 1-6 0,3-1-5 15,3 2-17-15,2-2 9 0,3 3-4 0,3-4-28 16,3 4 3-16,3-2-19 0,4 0 1 0,2 3-15 16,4-3-2-16,0 0-15 0,2-1-1 0,3-2-10 15,-1-1 4-15,1-1-12 0,2-3-31 16,-2-1-47-16,-1-4-59 0,2-1-40 0,-3 0-50 0,0-4-27 15,0 0-20-15,-1-3-31 0,0-3-11 16,0-1-19-16,-1 1-65 0,-2-4-30 0,3-1-63 0,-2-2-247 16,0-1-232-16</inkml:trace>
  <inkml:trace contextRef="#ctx0" brushRef="#br0" timeOffset="77210.5">14473 2368 112 0,'0'0'478'0,"0"0"-66"0,-10-1-100 16,10 1-2-16,-10 4-53 0,10-4-30 15,-7 10-40-15,3-3 20 0,2 2-68 0,-1 0 7 16,2 4-48-16,1-3 5 0,0 2-43 0,1 2 16 0,4 0-36 15,-1 0 17-15,3 2-34 0,1 1 23 0,1-1-30 16,2 1 21-16,1-1-91 0,-1 1 5 0,0-3-63 16,3-1 18-16,0 2-55 0,0-3-11 15,-1-3-38-15,0 1-10 0,0-2-42 0,-2-2-32 0,0-1-275 16,1-1-72-16</inkml:trace>
  <inkml:trace contextRef="#ctx0" brushRef="#br0" timeOffset="77644.41">14893 2270 116 0,'0'-8'289'0,"0"8"-60"15,0-11-20-15,-1 5-15 0,1 6-9 0,-5-13-54 16,4 9 3-16,1 4-26 0,-4-10 25 0,4 10-42 15,-8-6 15-15,8 6-33 0,-15-2 50 0,7 4-2 16,-2 2 5-16,-4 1-23 0,2 5 1 0,1 0-53 16,-3 3 41-16,1 0-45 0,4 2 32 0,0-2-58 15,0 1 41-15,4 2-17 0,2-2 25 0,2 0-36 16,1-1 23-16,0-1-33 0,3-1 30 0,1 2-31 16,1-3 28-16,1-1-15 0,1-1 20 0,0-2-26 15,2 0 18-15,0-3-31 0,1-1 21 0,-10-2-28 16,18-4 17-16,-6 1-22 0,-3-3 24 0,0-3-29 15,0-1 24-15,-2-1-27 0,2-1 18 0,-2 1-18 16,-2-1 11-16,1 3 7 0,-2 0 41 0,0 1 24 16,0-1-12-16,-2 2-15 0,-2 7-18 0,4-9-6 15,-4 9-6-15,0 0-3 0,0 0-15 0,0 0 8 16,6 7-6-16,-6-7 5 0,3 11-9 0,-2-1 13 16,4 0-16-16,-4 1-57 0,2 1-63 0,2 1-20 15,-2 0-54-15,2 2 6 0,-1-1-69 0,1-1-26 0,1 0-53 16,-2 1-74-16,0-5-244 0,0 0-163 15</inkml:trace>
  <inkml:trace contextRef="#ctx0" brushRef="#br0" timeOffset="78518.58">15053 2151 20 0,'0'0'475'0,"0"0"-85"0,1-7-88 0,-1 7-19 16,0 0-76-16,0 0 6 0,0 0-66 0,4-5 30 16,-4 5-65-16,0 0 33 0,5 5-43 15,-5-5 26-15,8 8-8 0,-2-1-1 0,-2 0-9 16,3 3 13-16,-4-1 9 0,5 4-2 0,0-1-8 0,-2-1-8 16,2 3 0-16,-2-1-7 0,2 0-18 0,-2-1-23 15,2 0-7-15,-3 0-11 0,0-2 4 0,-1-2-17 16,0 2 0-16,2-3-5 0,-2-1 19 0,-1 0 33 15,-3-6 30-15,5 9 10 0,-5-9-17 0,0 0-23 16,0 0-15-16,0 0-17 0,0 0-12 0,0 0-4 16,0-7-5-16,-3-1-8 0,3-2-6 0,0-1-5 15,0 0 4-15,0-3-13 0,0-1 3 0,3-1-3 16,-1 1 1-16,2 0-2 0,-1 2-4 0,2 0 0 16,-1 2-4-16,1 1 2 15,1 3 3-15,1 0-5 0,-1 2 1 0,4 2-3 0,-2 0 10 0,-8 3-2 16,18 0 1-16,-9 3 0 0,0 0 1 0,0 2 1 0,1 1 5 15,-3 0 5-15,1 1-7 0,0 2 0 16,-2-1 8-16,1 0-5 0,-2 2 1 0,0-3-3 0,-1 1 2 16,1 1 8-16,-3-3 5 0,-2 1 26 0,0-7-12 15,0 12 9-15,0-12 20 0,0 9 14 0,0-9-22 16,-2 6-4-16,2-6-20 0,0 0 3 16,-9-3-20-16,9 3 14 0,-5-9-20 0,2 2 8 0,2-3-9 15,-2-1 4-15,3-2-5 0,-1-1 4 0,1 2 0 16,0-3-3-16,1 1-2 0,1 0 6 0,-1 3-11 15,0-2-4-15,4 2-5 0,-2 2 2 0,1 0 10 16,3 2-15-16,-2 3 1 0,3-1 0 0,-8 5 7 16,15-4 2-16,-15 4 1 0,14 1-7 0,-6 3 8 15,2 0 0-15,-1-1-6 0,-1 3 4 16,1-1-3-16,1 1-7 0,-1 1-34 0,0-1-12 0,2 3-5 0,-3-4-20 16,1 3 2-16,1-2-4 0,-1 0 4 15,0 0 2-15,-1-3 7 0,2 1 5 0,-1-2-3 16,-9-2 2-16,19 1 7 0,-19-1 5 0,18-3-3 15,-8-2-2-15,-2-1-5 0,1-1-16 0,0-4-1 0,1 0-22 16,-2-3 23-16,0-1-6 0,0-1 29 0,-1 0-5 16,-1 1 11-16,-2 0 11 0,1 2 6 0,-2 1 31 15,1 1 31-15,-1 2-1 0,-1 0-3 0,-2 9-7 16,0-9-5-16,0 9 4 0,-5-6 15 0,5 6 11 16,0 0 6-16,-7 7 13 0,7-7 2 0,-2 10-5 15,2-2 3-15,0-1 5 0,2 2-8 0,1-1-3 16,1 3 0-16,2-2-8 0,0 1-6 0,2 0 2 0,1 0-5 15,2-2-10-15,1 1 0 0,-3-2-3 16,2-1 0-16,0-1-5 0,-2 0 0 0,1-3-1 16,-10-2 0-16,15 1-4 0,-15-1-4 0,15-3 0 0,-9-2 0 15,-1-1-3-15,-3-1 0 0,0-2-3 0,-2 0 1 16,-2-2-3-16,0 0-4 0,-3-1 3 0,-3-1-5 16,-1 2-34-16,0-1-25 0,0 2-19 0,-1 0-26 15,0 2-38-15,-2 0-38 0,2 2-48 0,0 2-18 16,1-2 6-16,-3 3-30 0,3 0-38 0,9 3-21 15,-14-3-24-15,14 3-355 0,-11-3-217 0</inkml:trace>
  <inkml:trace contextRef="#ctx0" brushRef="#br0" timeOffset="79194.31">15816 1883 391 0,'15'-2'419'16,"-15"2"-40"-16,12 1-20 0,-12-1 29 0,15 2-76 15,-15-2-25-15,12 7-16 0,-7-2-20 0,4 0-19 16,-3 1-27-16,1 0-24 0,-1 0-10 0,4 0-23 15,-1 0-21-15,-1 1-25 0,2-1-11 0,-1 1-18 16,-1-3-7-16,1 1-16 0,-1-2 0 0,0 1-11 0,1-1-2 16,-9-3-5-16,14 1-7 0,-14-1-5 15,13-4 0-15,-5 0-8 0,-1 0-1 0,0-3-2 0,-2-2-6 16,0 0-9-16,3-2-1 0,-1 0-4 0,-3-1 3 16,1 2 2-16,-1 1 0 0,1 0 8 15,-1 1-6-15,-1 1 0 0,2 2-9 0,-5 5 4 0,5-7 4 16,-5 7 23-16,0 0 17 0,0 0 8 0,10 2 21 15,-10-2-5-15,8 10 3 0,-3-7-15 0,0 4 9 16,0 1-15-16,0-1 7 0,2 0-21 0,-2 0 18 16,2 2-27-16,0-2 13 0,-1-1-17 0,1 2 15 15,-2-2-20-15,2-1 19 0,-2-1-22 0,-5-4 19 0,12 5-20 16,-12-5 20-16,11 5-24 0,-11-5 8 0,9-5-38 16,-9 5 2-16,8-8-32 0,-3 2-23 0,-1-1 5 15,2-1-6-15,-3-3 7 0,2 1 11 0,-1-1 9 16,0 2 12-16,0-1 6 0,-2 1 12 0,2 1-5 15,0 1 3-15,-2 2-1 0,-2 5 1 0,7-10 9 16,-7 10 9-16,5-5 3 0,-5 5 1 0,0 0 5 16,10-1 19-16,-10 1 10 0,9 2 11 0,-9-2-3 15,10 3-3-15,-10-3-4 0,13 4 1 0,-13-4 1 16,15 5-12-16,-15-5 2 0,13 4 0 0,-13-4-4 16,18 2 0-16,-18-2-3 0,14-1 0 0,-14 1 0 0,19-2-4 15,-11-1-4-15,1-1 0 0,-3 0 0 16,3-2-16-16,-2-1-41 0,-1-1-13 0,1 0-10 0,0-4-8 15,-2-1-5-15,-1-2-23 0,-1-2-2 16,-2-2-7-16,-1-2 16 0,0-4-20 0,-3-3 37 0,1-4 2 16,-2-1-4-16,1 1 16 0,-2 1 23 0,1 5 87 15,3 3 54-15,-3 4 55 0,3 1 32 0,0 3-27 16,-1 2-40-16,1 2-21 0,1 4 21 0,0 7 39 16,0 0-7-16,0 0-20 0,0 0 7 0,0 0-29 15,5 13-16-15,0-1-3 0,-1 1-15 0,4 3-1 16,-2 5-15-16,4-1 22 0,1 5-40 0,0 0 31 0,1 0-43 15,-1 0-30-15,-2 0-104 0,1-3-88 0,-2 0-51 16,-3-2-79-16,0-3-27 0,-2-1-33 0,-2 0-14 16,-1-3-11-16,-2-2-20 0,0 0 12 0,-3-3 10 15,1-2-247-15,-2-1-170 0</inkml:trace>
  <inkml:trace contextRef="#ctx0" brushRef="#br0" timeOffset="79621.31">16513 1775 993 0,'-8'-5'162'0,"0"-1"12"0,1-1 4 0,2-1 18 0,1-1-24 15,1 1-18-15,2-3 18 0,2 2-78 0,2-1 17 0,1-1-59 16,2 0 22-16,4 1-54 0,-1 0 34 0,1 2-42 15,4-1 42-15,-1 2-52 0,1-2 26 16,2 3-72-16,0 1 16 0,0-1-53 0,0 2-6 0,2-1-3 16,0 0-4-16,0 3 5 0,-3-3 14 0,4 1 10 15,-2 0 12-15,-1 0 13 0,1-1-3 0,-2-1 19 16,1 0 16-16,-1 0 2 0,-1 0 57 0,0-1-13 16,-1 0 46-16,1 0-23 0,-4-2 49 0,1 2-43 15,-1 0 50-15,-4-1-43 0,2 1 28 0,-3 1-48 16,0-1 58-16,1 1-44 0,-6 6 24 0,3-11-54 15,-3 11 25-15,0 0-48 0,-3-7 36 0,3 7-31 0,-10 3 35 16,2 0-35-16,2 2 25 0,-2 1-29 16,1 1 33-16,0 2-24 0,2-1 28 0,0 2-24 0,1-1 24 15,2 1-23-15,-1-1 25 0,3 1-21 0,3 0 6 16,-1-2-17-16,-1 0 7 0,3 1-2 0,2-4 13 16,-1 1-17-16,-5-6 12 0,14 4-21 0,-14-4 14 15,12 0-20-15,-4-3 10 0,2-1-11 0,-1-2 6 16,-2 0-1-16,0-1-3 0,2-2-12 0,-1 2 12 15,-3 0-10-15,3 0 55 0,-3 1 13 0,1 0 5 16,-1 2-22-16,1-2-13 0,-6 6-11 0,7-5 4 16,-7 5-12-16,0 0 6 0,13-2-11 0,-13 2 2 0,6 5-7 15,-6-5 12-15,8 8-16 0,-3-1 12 0,0-2-43 16,2 2-51-16,-1 1-81 0,-1-1-24 16,-1 2-51-16,2-2 4 0,1 0-86 0,-2 1-27 0,1-2-30 15,-2 0-67-15,1-1-190 0,-5-5-140 0</inkml:trace>
  <inkml:trace contextRef="#ctx0" brushRef="#br0" timeOffset="79928.31">17242 1476 464 0,'7'-9'548'15,"-1"0"-126"-15,2 3-11 0,-3-1-65 0,1 1-20 16,-2 1-52-16,-4 5 8 0,13-4 4 0,-13 4-4 0,14-3-25 16,-14 3-31-16,12 3 1 0,-12-3-49 0,12 4-14 15,-3-1-33-15,-9-3-25 0,9 7-17 16,-9-7 8-16,10 8-31 0,-10-8 3 0,7 7-23 0,-7-7 6 15,5 7 19-15,-5-7 13 0,0 0-18 0,0 0-14 16,0 0-6-16,0 0-3 0,0 0-13 0,-18-6-6 16,14 2-3-16,-2-3 0 0,1-2 1 0,-3-3 15 15,2-2-28-15,-1-2 25 0,2-5-10 0,1-4-2 16,0 0-13-16,2 0 4 0,0-1-10 0,2-2 3 0,2 3 3 16,-1 0-11-16,0 1-1 0,3 2-2 15,0 0 7-15,0 6-13 0,1 0-60 0,3 2-63 0,-2 1-52 16,3 4-62-16,-1 2-50 0,1 1-43 0,-2 2-7 15,-7 4-12-15,13 0-10 0,-13 0-58 0,9 6 8 16,-9-6-75-16,1 11-228 0,-3-3-230 0</inkml:trace>
  <inkml:trace contextRef="#ctx0" brushRef="#br0" timeOffset="80409.31">17255 1244 175 0,'-9'12'396'0,"-1"-2"-82"0,1 0-47 16,3-2-39-16,-1 0-17 0,2 0-2 0,1-2 41 15,4-6-76-15,0 9 14 0,0-9-77 0,9 8 16 0,0-6-72 16,4-1 42-16,0 0-55 0,3-1-8 0,4-1-8 15,3 0-7-15,2-1-1 0,3-2-1 0,4-1-4 16,0-1 26-16,1-1-60 0,-2 0 3 0,-2-2 3 16,1 1 2-16,-2-2 1 0,-4-1 3 0,-1 3-6 15,-2-3 8-15,-2 2 0 0,-3 0 3 0,0 0 0 16,-3 0 3-16,-2 1 35 0,-1 0 21 0,-1 1-4 16,-1 2-8-16,-3-2-10 0,-5 7-9 0,6-8 2 15,-6 8 4-15,0 0 12 0,-6-7 20 0,6 7 1 16,-12 0-11-16,12 0-7 0,-16 5-10 0,8-1-3 15,-2 1-12-15,1 0-5 0,-1 1 0 0,1 0-3 16,1 1-2-16,2 0 4 0,-2 0-11 0,3 1 1 16,1-2 1-16,-1 1 2 0,4-1 3 0,1-6-1 0,-3 11 3 15,3-11-1-15,4 8 0 0,-4-8 4 0,6 5-6 16,-6-5 1-16,11 2-1 0,-11-2 2 0,11-2-4 16,-11 2-4-16,14-5 1 0,-7 2-4 0,1-1 0 15,0 0 1-15,1 1-4 0,-2-1-4 0,-7 4-3 16,14-5 1-16,-14 5 1 0,13-3-1 0,-13 3 4 0,13 0 4 15,-13 0 8-15,13 5 7 0,-8-2 18 16,3 2 19-16,-3 1 0 0,0 0-1 0,-1 2 2 16,0 0 20-16,-1-1-8 0,-1 1 0 0,-1 0-19 0,1-1 1 15,-1 1-12-15,-1-1 6 0,-1 2-1 16,-1-2-4-16,1 0-8 0,-1 0-1 0,-1 0-4 0,-1 0-2 16,0 0-4-16,-1 0 1 0,-1 0-5 0,-2-1-5 15,3 0-44-15,-1-1-42 0,-1 1-70 0,0-1-33 16,0-1-64-16,1-1 33 0,6-3-60 0,-12 6-1 15,12-6-37-15,-11 2-39 0,11-2-82 0,0 0-191 16,-10-3-136-16</inkml:trace>
  <inkml:trace contextRef="#ctx0" brushRef="#br0" timeOffset="80620.37">17704 1244 271 0,'0'0'438'0,"-2"-8"-93"0,2 8-38 0,0 0-40 16,0 0-29-16,-11 1-14 0,11-1-43 0,-8 10-16 15,2-4-20-15,-2 1-4 0,2 3-14 0,-3 2-11 16,1-2 1-16,-1 3-38 0,2-2 8 0,0 3-39 16,0 0 19-16,-1 1-26 0,-1-1 11 0,3 1-30 15,-1 0 18-15,1 1-95 0,1-3-28 0,-3 1-49 0,4-1 3 16,-1 1-101-16,1-5-31 0,4 2 3 0,-2-1-1 16,2-3-78-16,0-7-216 0,2 10-67 15</inkml:trace>
  <inkml:trace contextRef="#ctx0" brushRef="#br0" timeOffset="81387.37">18010 1209 467 0,'4'-9'341'16,"-1"2"-30"-16,-3 7-43 0,2-10-46 0,-2 10-47 15,-1-8-34-15,1 8-28 0,0 0-19 0,-6-5-4 0,6 5-9 16,-12 1-16-16,12-1-10 0,-11 5-12 15,6 0-4-15,-2-2-2 0,3 2-18 0,-2 0 2 0,2 1-4 16,2 0-2-16,-1 0-4 0,2 1-4 0,1-7 1 16,0 11 7-16,0-11 1 0,2 12-2 0,-2-12-9 15,8 10 8-15,-2-6-3 0,-6-4 42 0,13 6-47 16,-13-6-1-16,17 1-1 0,-17-1 1 0,15-3 2 16,-6-1-2-16,1 0-4 0,-1-1 6 0,0-1-5 15,0 0-1-15,-3 0 1 0,1 0 0 0,-2 0 12 16,0 0 42-16,0 0 27 0,-5 6 18 0,9-9-4 15,-9 9-17-15,7-5-23 0,-7 5-10 0,0 0 8 16,5-6 42-16,-5 6 2 0,0 0-2 0,0 0 4 0,5 7-21 16,-5-7 3-16,1 6 5 0,-1-6 7 0,6 8-6 15,-6-8 4-15,7 8-11 0,-3-3-2 0,1 0 7 16,-5-5-4-16,10 7-12 0,-1-3-2 16,-1-1-3-16,1 0-9 0,1 0 14 0,-10-3-31 0,18 1-6 15,-18-1-8-15,20 0-7 0,-11-3 6 0,3 0-8 16,-1 1-1-16,-2-2-2 0,0 0-9 0,2-2-1 0,-3-1-13 15,1 0-16-15,-1-2 1 0,-2 2 1 16,1-3 7-16,-2 2-3 0,-1-1 3 0,-2 1 5 16,2-1-3-16,0 2 7 0,-4 7 3 0,2-12-7 0,-2 12 8 15,1-10-2-15,-1 10-2 0,2-9-6 0,-2 9 7 16,-2-6-2-16,2 6-2 0,0 0 8 0,0 0-1 16,0 0-5-16,0 0 6 0,0 0-1 0,0 0 3 15,0 0 0-15,0 0 2 0,0 0 10 0,0 7 11 16,0-7 3-16,6 7-2 0,-6-7 6 0,6 4-6 15,-6-4-3-15,10 4-3 0,-10-4 4 0,14 3-3 16,-14-3-4-16,13 2 5 0,-13-2-10 0,15 0-2 16,-15 0-14-16,15-4-33 0,-7 0-30 15,0 1-3-15,0-2 8 0,0 0 11 0,0 0 13 0,-3 1 4 16,2-1 2-16,-2 1 15 0,-5 4-3 0,9-7-4 0,-9 7 3 16,9-5 4-16,-9 5-1 0,0 0 2 0,10 2 6 15,-10-2 13-15,8 9 31 0,-7 0 14 0,3 1-2 16,0 2 2-16,-2 4 4 0,-2 0 1 0,0 0 1 15,1 4-2-15,-1-2-2 0,-1 1 1 0,1-1-16 16,-1 1 3-16,-2 0-2 0,0-1-3 0,-1-1 1 16,0 1-8-16,-1-3-4 0,-3 0 5 0,3-1 1 15,-4-1 21-15,0-2-27 0,0-1 1 0,-1-2 3 0,1-1-9 16,0-3 0-16,1 1 0 0,8-5-1 0,-16 2-17 16,16-2-66-16,-12-3-41 0,5-2-80 15,2-1-30-15,-1-4-91 0,4-1 1 0,-1-4-61 0,1-5-54 16,2-2-60-16,1-4-425 0,3-7-481 0</inkml:trace>
  <inkml:trace contextRef="#ctx0" brushRef="#br0" timeOffset="81537.37">18538 972 126 0,'13'-10'446'0,"2"3"-70"0,-2 4-36 0,0 2-36 0,-2 2-24 0,1 2 6 16,1 3 0-16,-2 3 9 0,-1 1-11 0,-2 2-2 16,0 2 0-16,0 0-31 0,-2 1-29 0,-1 1-24 0,-1 2-42 15,-2 0-32-15,1 1-24 0,-3 1-16 16,0 0-17-16,-1 0-16 0,-3 3-71 0,0-2-70 0,-1 0-85 15,-3 0-97-15,-1-2-3 0,-1 1-90 0,-3-3-54 16,-1 0-131-16,0-1-294 0,-4-4-385 0</inkml:trace>
  <inkml:trace contextRef="#ctx0" brushRef="#br0" timeOffset="82240.31">15226 2817 139 0,'-20'5'588'0,"3"-2"-118"0,1 1-47 16,2-1-22-16,1-3-37 0,13 0-81 0,-17 0-61 16,17 0-26-16,-4-7-31 0,10 0-22 0,5-1-8 15,10-7-20-15,11-3-28 0,10-2-12 0,13-4-24 16,4-2-1-16,7 3-18 0,1-2 0 0,1 2-49 0,-1 1-80 16,0 2-79-16,-3 0-5 0,-4 3-102 0,-10 5-140 15,-6-1-456-15,-2 1-435 0</inkml:trace>
  <inkml:trace contextRef="#ctx0" brushRef="#br0" timeOffset="82488.96">15272 3062 537 0,'-17'12'544'15,"7"-4"-103"-15,2-1-52 0,4-1-18 0,4-6-33 16,4 5-18-16,-4-5-23 0,27-4-62 0,-4-3-17 15,18-4-53-15,2-1-6 0,7-4-42 0,9-3-2 16,2 0-41-16,1-2 4 0,0 1-42 0,-2 1 12 16,-3-1-26-16,-9 5-24 0,-3 1-59 0,0 1-46 15,-6 0-35-15,-7 3-43 0,-5 1-3 0,-3 1 6 16,-3 0-10-16,-6 2-40 0,-2 1-49 0,-4 1-42 16,-9 4-44-16,9-6-345 0,-9 6-217 0</inkml:trace>
  <inkml:trace contextRef="#ctx0" brushRef="#br0" timeOffset="84916.79">16587 4898 101 0,'-8'-6'459'0,"3"0"-113"0,-1 2-26 16,-1-1-61-16,-2 0-41 0,3 1-9 0,-2 1-31 15,-1 1-39-15,-1-1-17 0,1 0-12 0,9 3-15 16,-20 0-8-16,8 0-7 0,-1 0-7 0,-1 2 11 16,0-1-21-16,-1 2 3 0,-2-1-20 0,-2 0 12 15,0 1-21-15,0 0 13 0,-3-1-22 0,-1 3 17 16,-1-2-24-16,-2-1 10 0,-1 2-17 0,-1-3-2 16,-2 1-2-16,-1-1-6 0,0-1 3 0,-1 0 0 15,-5-1-3-15,1-1 7 0,-2-2-5 0,2 0 1 16,-1-3-6-16,3 0 2 0,-1-1-3 0,-4-3 21 15,-1-1-19-15,4-1 13 0,-2-2-19 0,1-1 14 16,0-1-13-16,2-2 12 0,-2 0-12 0,4-2 18 16,0 1-19-16,1-2 14 0,1-1-18 0,0 2 20 15,3-2-18-15,0-1 11 0,3-1-13 0,-1 1 12 16,7 2-14-16,-3 2 3 0,2 0 1 0,0-1-6 16,0 1 3-16,1 1 1 0,1 0-23 0,-1 1-1 15,1 0-1-15,-1 2-11 0,1 1 5 0,1 2 4 16,-2-4-4-16,1 2 33 0,-1 3-12 0,0-2 4 15,1-1 6-15,0 0 0 0,-1 0-3 0,1 0-2 16,3 1-3-16,-2-3 16 0,4 1 2 0,-2 1-6 0,2-2 3 16,2 0 1-16,-1-1-2 0,3 0 2 15,0 0 11-15,3-1 13 0,-2 0 2 0,3-2 4 16,-1 2 0-16,-2-1-9 0,2-1 17 0,-1 1-22 0,-2 0 14 16,0 0-21-16,2-1-4 0,-1 2-2 0,0-3-2 15,-2 2-3-15,1-2 6 0,-1-2-4 0,-3 0 0 16,2 0 1-16,-2 0-27 0,3-2 30 15,-2 0-28-15,1 1 29 0,-1-1-19 0,3-1 34 0,-2 1 2 16,3-1 22-16,-1 1-23 0,3 0 10 0,-2 0-32 16,3 2 18-16,1 1-18 0,0-2 18 0,2 1-2 15,-1-1-6-15,3 2-1 0,0-1-2 0,0 3 2 16,3 2-7-16,-3-2 4 0,2 0 0 0,0 3-1 16,-1 0 7-16,0 2 20 0,2 0 3 0,-2 3-7 15,2 0-9-15,-2 1-2 0,0 1-1 0,0 0-3 16,1 2-2-16,-1-1-2 0,0 3-5 0,3-1-10 15,-3 1 12-15,3-1-6 0,-1 0 2 0,1 1 0 16,1 0-2-16,0 2 3 0,0-2-20 16,1 1 19-16,-1 2-17 0,2-3 18 0,-1 4-12 0,-2-3 19 15,4 1-19-15,-2 0 15 0,-1 2-16 0,2-3 25 16,-1 1-24-16,0-1 21 0,1 0-17 0,-1 0 18 16,1-1-19-16,-1 0 13 0,1-2-17 0,1-1 21 15,0 0-26-15,-2-1 21 0,2 0-26 0,-3 2 28 16,0-1-22-16,-1-2 18 0,1 2-16 0,-2-1 21 15,-2 2-24-15,4-1 25 0,-4 1-25 0,1-1 12 16,-1 2-8-16,-1-1 24 0,0 1-25 0,0 1 30 16,-1-1-32-16,-1 1 25 0,2 1-24 0,-2 0 28 15,-2 0-26-15,4 6 26 0,-1-8-30 16,1 8 23-16,-3-6-24 0,3 6 25 0,0 0-26 0,-11 1 25 0,11-1-17 16,-12 7 27-16,3 1-22 0,0 0 29 15,0 2-11-15,-3 0 21 0,1 2-6 0,-4 2 20 16,3-2-14-16,0 3 9 0,-2 1-4 0,1-3-3 15,-1 0 1-15,2 0-9 0,-3 2-6 0,2-3 2 16,3-2-4-16,-2 2-3 0,2-2 0 0,0 1 2 0,-1-2-7 16,0 2-1-16,2 0 1 0,-3-1-2 15,3 0-1-15,-2 0-1 0,1-1-5 0,1 0 5 16,0-3-4-16,2 1-1 0,0-1 3 0,-1 0 2 16,3-1-1-16,0-1 1 0,5-4 0 0,-9 7 6 15,9-7-4-15,-6 6-7 0,6-6 4 0,0 0-5 0,0 0 0 16,0 0-1-16,-10-3-3 0,10 3 2 15,2-9-3-15,-2 9-7 0,4-12 8 0,0 5-12 0,0 0 13 16,1-2-3-16,1 2 1 0,-1 0 1 16,2 0-3-16,-2 0 5 0,0 0-7 0,3 1 2 15,-2 1 0-15,2-1 0 0,-2 3-12 0,2-1 7 0,-2 1-1 16,-6 3 11-16,14-2-11 0,-14 2 12 0,17-2-2 16,-17 2 3-16,15 0-2 0,-15 0 3 0,18 3 1 15,-9-1-2-15,0 2 2 0,4-2-4 0,-3 1 8 16,0 3-91-16,4-1-31 0,-1 1-26 15,1 2-32-15,-1 1-18 0,1 0-61 0,-3 0-84 0,1 2-81 16,-1-2-346-16,0 4-277 0</inkml:trace>
  <inkml:trace contextRef="#ctx0" brushRef="#br0" timeOffset="85803.76">14605 2844 100 0,'-7'-10'220'0,"2"0"-48"16,1 3 2-16,2 0-29 0,0 1-10 0,0 0-22 15,2 6-19-15,0-10-15 0,0 10 2 0,4-6 5 16,-4 6-24-16,10-2 15 0,-10 2-17 0,18 4 41 16,-7-2-16-16,1 3-5 0,3 0-30 0,-1 2 19 15,0 1-31-15,3 2 14 0,-2 1-29 0,1 1 17 16,-1 1-26-16,-2 1 23 0,-1 2 2 0,-1 0-5 15,-2 1-44-15,-2 4-79 0,1-1-41 0,-4 1-62 16,-2 3-77-16,1-2-224 0,-3 0 17 0</inkml:trace>
  <inkml:trace contextRef="#ctx0" brushRef="#br0" timeOffset="93777.38">21163 5150 495 0,'0'0'476'15,"0"0"-68"-15,0 0-93 0,-2-7-27 0,2 7-31 0,-5-3-26 16,5 3-30-16,-11-4-5 0,11 4-18 0,-19-4 6 16,8 3-25-16,-3 1-12 0,-1-1-7 0,0 1-5 15,-4 0-30-15,-1 0-12 0,-2 1-22 0,-1 0-3 16,-3 1-20-16,1 0 2 0,-1 1-21 0,-2-1 6 16,1 2-18-16,-1-2-14 0,3 0-64 0,0 1-38 15,1-1-22-15,2 1-43 0,4-2-11 0,-1-1-29 16,0-1-65-16,5-1-13 0,-1 1-69 0,3-3-19 15,2 1-338-15,-1-2-216 0</inkml:trace>
  <inkml:trace contextRef="#ctx0" brushRef="#br0" timeOffset="94012.37">20600 4919 46 0,'0'-8'409'0,"0"2"-85"15,-2 0-21-15,2 6-47 0,-2-13-40 0,-1 9-28 16,3 4-30-16,-10-7-15 0,10 7-16 0,0 0-2 15,-13 0-31-15,7 6 2 0,-3-1 17 0,1 7 12 0,1 1-9 16,-4 3-12-16,1 5 12 0,1-2-18 0,0 2 2 16,2 1-14-16,0 1 30 0,2-2-15 0,1 2-13 15,2 0 25-15,2-2 0 0,2 0-9 16,2 1-1-16,1-1-15 0,5 0-13 0,-1-2-9 16,3-1-11-16,1-1-11 0,1 0-12 0,2-2 2 0,0 1-8 15,1-4-4-15,2 0-86 0,1 0-97 16,0-3-61-16,1 1-84 0,-1-4-170 0,3 0-552 15,-2 0-637-15</inkml:trace>
  <inkml:trace contextRef="#ctx0" brushRef="#br0" timeOffset="95143.49">29372 4669 117 0,'0'-7'499'0,"0"7"-99"0,0-11-76 16,0 11-74-16,0-7-51 0,0 7-23 0,0 0-3 15,0 0-9-15,0 0 1 0,-3 12-18 0,1-1 15 16,-1 2-14-16,1 4 1 0,-1 2 14 0,1 3-21 16,0 1-22-16,0 0 19 0,-1 2-15 0,1 0-25 15,0-2-11-15,-2 2-17 0,2-1-6 0,-1 1-16 16,-2-2-1-16,0 0-15 0,1-1 10 0,-1 2-17 16,1-2 5-16,-1-3-14 0,1 2-58 0,-2-4-76 15,2-1-36-15,0 0-72 0,2-3-56 0,-1-1-22 16,1-3-83-16,0 0-27 0,1-2-352 0,1-7-281 15</inkml:trace>
  <inkml:trace contextRef="#ctx0" brushRef="#br0" timeOffset="95413.48">29635 4695 443 0,'9'-4'447'0,"-9"4"-63"0,0 0-30 15,13 2-21-15,-9 4-33 0,-2 1-13 0,1 3 6 16,-2 2-7-16,-1 2-10 0,3 2-8 0,-3 1-13 16,1 4-2-16,0 0-39 0,-1-1-37 0,0 0-9 15,0 5-17-15,0-1-18 0,3 1-27 0,-3-1-19 16,0-2-16-16,-3 1-18 0,3-2-7 0,-1 0-4 16,0-2-7-16,-1 1-3 0,1-1 19 0,1-2-40 15,-2 0 1-15,-1-2-67 0,-1 0-22 0,2-1-53 16,0-3-39-16,-2 0-38 0,2-3-35 0,-2 0-62 15,0-4-42-15,4-4-65 0,-7 5-84 0,7-5-52 0,0 0-270 16,-11-6-350-16</inkml:trace>
  <inkml:trace contextRef="#ctx0" brushRef="#br0" timeOffset="95844.07">29526 4560 301 0,'-11'-4'433'0,"-2"1"-60"0,2 0-83 0,-3 3 3 16,-2 2-16-16,-2 1-22 0,-1 1-11 0,-1 3-51 15,-3 0-1-15,1 3-28 0,2-1 1 16,-5 4-6-16,5-2-8 0,1 1-15 0,0 1-2 0,1-2 2 16,2 1-14-16,0-1-16 0,4-2-23 0,1 0-10 15,-1-2-12-15,3 0-10 0,2-1 3 0,-1-1 17 16,0 0 34-16,3-1 12 0,5-4 29 0,-9 6-20 15,9-6-28-15,0 0-16 0,0 0-24 0,9-8-6 16,0 1-12-16,4-1-12 0,2-3-6 0,2-1 3 16,3-4-13-16,2 1-6 0,2 0-1 0,-1 0 2 15,-1 0-2-15,2 1-4 0,1 2-4 0,-4 2 5 16,1 1-10-16,0 2 7 0,-2 1-5 0,-2 2 3 16,3 3 0-16,-2 1-3 0,-1 4 1 0,1 0-3 15,1 5 7-15,-2 1 3 0,1 3 1 0,1 2 0 16,0 3 4-16,-1-1 15 0,0 4 26 0,0 0 5 15,-2 1 29-15,2-1-32 0,0 1 17 16,-1-2-28-16,1 2 9 0,-3-3-22 0,0 0 15 16,-3-2-30-16,1-2 25 0,-2 1-26 0,-3-4 22 0,0-1-35 15,-2 0-33-15,0-2-68 0,-1-1-79 0,-1-1-60 16,0-1-100-16,-2 0-80 0,-3-6-149 0,0 8-721 16,0-8-896-16</inkml:trace>
  <inkml:trace contextRef="#ctx0" brushRef="#br0" timeOffset="99295.9">30118 4864 122 0,'0'0'345'0,"-9"-1"-34"16,9 1-46-16,0 0 22 0,-12-3-23 16,12 3-12-16,0 0-14 0,0 0-22 0,-11-1-42 15,11 1-31-15,0 0-12 0,0 0-10 0,0 0 4 0,0 0 7 16,0 0 5-16,0 0-6 0,0 0 1 0,7 7-4 16,-7-7-16-16,16 5-17 0,-4-2-17 0,1 0-5 15,3 1-13-15,3-1-8 0,1 2-10 0,3-1-11 16,2 1 0-16,-1-1-6 0,1 1-6 0,0 1-76 15,-2-2-79-15,-4-1-83 0,-1 1-80 0,-1-1-116 16,-3 3-134-16,-3-4-272 0,-2 0-354 0</inkml:trace>
  <inkml:trace contextRef="#ctx0" brushRef="#br0" timeOffset="99656.9">30150 5074 47 0,'-9'7'513'0,"0"-1"-141"15,2-1-44-15,1-2-25 0,4 4-9 0,2-7-49 16,-1 7-24-16,1-7-66 0,7 5-29 0,0-1-24 16,3-1-12-16,0-2-23 0,2 0-13 0,4 0-4 15,-3-2-15-15,6 0-10 0,0-1-6 0,1-4-32 16,1 1-18-16,1-2-6 0,-3-4-14 0,0-1-6 16,3-3 13-16,-3-1-4 0,0-4 6 0,-2 1 10 15,2-2-1-15,-5 1-6 0,0 2 46 0,-1 1 21 16,-1 1 22-16,-2 0 26 0,0 3 20 0,-2 2 30 15,-1 0 16-15,-1 2-24 0,-1 1-27 16,0 4-14-16,-5 4 3 0,9-6 41 0,-9 6 6 0,5 6-19 16,-5-6 1-16,4 14 5 0,-2-5-9 0,-2 4-10 15,1 1-17-15,1 2-10 0,-1 4-9 0,0-1 5 16,-1 1-25-16,0 1 12 0,-2 3-30 0,-1 0 22 16,-1 1-33-16,-1-1-31 0,-2 4-67 0,-1-2-17 15,-4-1-70-15,2 2-12 0,-3-4-43 0,2-1-26 16,-2-2-27-16,3-2-58 0,-2-2-67 0,1-1-421 15,-1-2-369-15</inkml:trace>
  <inkml:trace contextRef="#ctx0" brushRef="#br0" timeOffset="102821.23">27774 4632 90 0,'0'-7'390'0,"-2"1"-109"0,2 6-45 0,-2-13-29 0,2 13-12 15,0-14-46-15,2 7 21 0,-2 0-33 0,0 1-7 16,0 6-42-16,2-12 11 0,-2 12-30 0,2-11 5 15,-2 11-27-15,2-8 4 0,-2 8-17 0,1-7 7 16,-1 7-18-16,4-6 12 0,-4 6-13 0,0 0-2 16,0 0 16-16,0 0 7 0,0 0 3 0,13 3-6 15,-13-3 7-15,3 14 8 0,-2-4 24 16,-1 2-14-16,0 5 9 0,0 2-1 0,-1 8 7 0,-1-4-5 16,0 5-3-16,-1 4-11 0,0 0 2 0,-1 0-8 15,0 0-1-15,1 0 8 0,-1 0-25 0,-1-2 12 16,1 0-21-16,1-6 9 0,-1 1-15 0,0-1 7 15,0-1-12-15,0 0 8 0,2-4-9 0,-1-1 4 16,-1 0-44-16,4 0-62 0,-2-2-59 0,-1 1-26 16,1-4-39-16,2-1-14 0,-2 0-78 0,2-3-13 15,2 1-78-15,-1-3-263 0,-1-7-165 0</inkml:trace>
  <inkml:trace contextRef="#ctx0" brushRef="#br0" timeOffset="104212.22">26554 4599 193 0,'0'0'299'0,"-1"-6"-66"15,1 6-22-15,-2-9-11 0,2 9-38 0,0-7 6 16,0 7-55-16,-1-10 15 0,1 10-25 0,-1-8 17 15,1 8-37-15,0-9 8 0,0 9-29 0,-2-7 18 16,2 7-27-16,0 0 5 0,-1-8-25 0,1 8 6 16,0 0-28-16,0 0 6 0,0-8-16 0,0 8 15 15,0 0-21-15,0 0 18 0,0 0-15 0,-1 9 19 16,1-9-11-16,-1 16 25 0,-1-4 6 0,0 3 9 16,-1 4 5-16,-1 6 4 0,-2 5-1 15,2 3-5-15,-1 1-2 0,-1 5 8 0,-1 2-11 0,0-2 19 16,0 3-19-16,0-3 12 0,0 1-22 0,1-7 14 15,-2 1-9-15,3 0-2 0,-1-1-7 0,-1 0-3 16,3-2-23-16,-3-1 19 0,2 0-31 0,0-5 22 16,1 0-71-16,0-2-21 0,1-1-35 0,2-3-112 15,0-2-42-15,-2 0-76 0,6-5-389 0,-3-1-235 16</inkml:trace>
  <inkml:trace contextRef="#ctx0" brushRef="#br0" timeOffset="105774.59">21447 4014 72 0,'0'7'266'0,"-3"3"-31"0,2-1-39 0,-1 3-17 15,-1 0-41-15,-1 4 8 0,4 0-13 0,-1 2-4 16,1 0-22-16,1 0 4 0,-1 0-6 0,0 2-18 16,0-2-10-16,3 1-30 0,-2 0 31 0,0-1-10 15,1 0-16-15,0 0-22 0,-2-1 16 0,1 1-24 16,1 0 14-16,-2 0-19 0,1 0 12 0,-1-2-20 16,0 2 20-16,0-1-15 0,0-3-18 0,0 0-57 15,0 1-32-15,0-3-41 0,0-2-55 0,0 1-42 16,1-1-35-16,2-2-200 0,-3-8 53 0</inkml:trace>
  <inkml:trace contextRef="#ctx0" brushRef="#br0" timeOffset="108972.59">22165 4460 67 0,'0'0'63'0,"-11"-1"-13"0,11 1-10 0,0 0-10 15,-16-1 5-15,16 1-5 0,-12 0-15 0,12 0 1 16,-12-1-5-16,12 1 3 0,0 0-14 0,-18 0-36 16,18 0-79-16,-10-1 40 0</inkml:trace>
  <inkml:trace contextRef="#ctx0" brushRef="#br0" timeOffset="112079.6">21521 4080 30 0,'-6'-6'181'0,"-2"1"-28"0,4-2-5 0,-1 1-14 0,1 1-15 16,-1-2-2-16,1 1-13 0,-2 0-1 16,2 0-15-16,-1 0-1 0,1 1-11 0,0 0 12 15,-1 0-19-15,5 5-2 0,-10-8-28 0,10 8 6 16,-10-6-21-16,10 6 7 0,-12-5-22 0,12 5 32 16,-12-4-13-16,12 4 9 0,-12-2-19 0,12 2 7 15,-10-2-22-15,10 2 17 0,0 0-18 0,0 0 8 16,-16 1-11-16,16-1 29 0,0 0 7 0,0 0 36 15,4 5-27-15,-4-5 21 0,18 1-31 0,-5 0 17 16,2-1-29-16,6 0 28 0,2 0-32 0,5-1 20 16,4 0-31-16,6-1 29 0,3 0-21 0,8 0 34 15,2-2 4-15,4 0 0 0,3-2 19 0,11-1-16 0,4 2 2 16,3-3-10-16,0 1-1 0,5 0-6 0,1-2 0 16,1 2-8-16,0 1-1 0,-1-1-16 15,2 1 5-15,0 0-7 0,2 0 2 0,-3 1-8 16,5-1 2-16,-2 1-6 0,1 1 0 0,0-3 4 15,-3 1-4-15,2 2 3 0,-1-2-7 0,2 1 6 0,-1 0 0 16,-2 0-3-16,3 0 2 0,1-1 2 0,-2 1-11 16,-1 0 19-16,0-1-15 0,-2 0 11 15,0 1-26-15,-2-2 12 0,0 2-12 0,-3 0 9 0,0-1-15 16,1 0 15-16,-6 0-7 0,0 3 4 0,-3-4 0 16,-10 4 4-16,-1-2-2 0,-1 2 11 0,-1-4-16 15,-2 3 1-15,1-1-6 16,-1 2-2-16,-1-4 5 0,2 4 0 0,1-2-3 0,-3-1-13 0,3 2-5 15,-2-2 15-15,1 3-4 0,-1-2 2 0,1 0 5 16,-1 0 0-16,-2 2 5 0,0-1-3 0,1-1 4 16,-2 2 3-16,3-1 5 0,-2 1-7 0,0 0-1 15,3-2 6-15,-2 3-34 0,2-1 39 0,1 0-29 16,-1 1 15-16,1 0-11 0,-3 1 32 16,2 0-28-16,0 0 32 0,1-1-4 0,-1 2 5 0,-2-1 0 15,1 2-34-15,1 1 35 0,-1-1-31 0,0-1 30 16,-3 1-31-16,2-1 29 0,-1 1-24 0,2 1 33 15,-2 0-37-15,0-1 36 0,2 0-37 0,-3 0 32 16,1 1 0-16,0-1-5 0,-2 0 7 0,-3 0-13 16,-4 0 2-16,4 2-29 0,-8-2 32 0,1-1-29 15,-3 0 26-15,3 1-23 0,-1 1 33 0,-1-2-33 16,-2 1 31-16,2 0-21 0,-1 0 18 0,-2-1-33 16,1 1 37-16,-6 0-34 0,1 1 30 0,-2-1-28 15,1 0 30-15,-2 0-26 0,2 0 26 0,-2 2-22 16,-1-2 20-16,2 0-2 0,-2 2 0 0,0-2 1 15,-2 1-3-15,1-1-6 0,-1 2 1 16,-1-1 0-16,-4-1 0 0,0 0-1 0,-1 1 2 0,2 0-9 16,-3-2 8-16,0 2 2 0,2-2-32 0,-3 0 2 15,1 1 36-15,-3-1-31 0,4 1 33 0,-4-1-27 16,3 0 28-16,-2 0-28 0,-2 0 28 0,2 0-24 16,-2 0 28-16,0 0-28 0,0 0 26 0,0 0-23 15,-2 0 14-15,0 0-19 0,-1-1 22 16,1 1-26-16,-1 0 26 0,-12 0-25 0,18-1 34 15,-18 1-27-15,15 0 31 0,-15 0-30 0,13 0 27 0,-13 0-31 16,11 1 23-16,-11-1-22 0,5 4 32 0,-5-4 4 16,5 7 6-16,-5-7 9 0,0 14 29 0,0-3 2 15,-1 2-4-15,0 2-13 0,-2 3 5 0,1 5 25 16,0 1-27-16,-3 3 31 0,3 3-33 0,-1 1 15 16,-1 1-16-16,2 1 13 0,-1-1-14 0,3-3 5 15,-2 0-4-15,2-3-11 0,0 2-11 0,0-3 1 16,-2 0-5-16,2-2-4 0,0-1-5 0,-2-4 1 15,0 0-4-15,1-3 2 0,1-1-1 0,-2-1 4 16,0-2-5-16,0-1-2 0,-2 0-39 0,3-2-52 16,0-1-54-16,-2-2-52 0,3-5-93 15,-8 7-94-15,8-7-483 0,-14 4-403 0</inkml:trace>
  <inkml:trace contextRef="#ctx0" brushRef="#br0" timeOffset="114035.59">21421 4537 152 0,'0'0'251'0,"0"0"-62"0,0 0-33 0,0 0-30 0,0 0-16 16,0 0-9-16,0 0-1 0,0 0-2 0,11 2-10 16,-11-2-14-1,7 3 1-15,-7-3-2 0,13 3-11 0,-13-3 1 0,13 4-1 0,-5-1-2 16,-1 0-6-16,2-1-13 0,0 1-15 0,0-1 18 16,1 2 7-16,0-2 0 0,2 1 3 0,3-1 5 15,-2 0-7-15,6 1-1 0,0-2-21 0,1 2 14 0,1-2-24 16,5 0 9-16,1 0-16 15,0-1 13-15,2 1-18 0,2 1 15 0,1-1-15 0,5 0 13 16,0 1-21-16,1-1 18 0,2 1-13 0,2 0 10 16,0 0-13-16,5 1 10 0,3 0-12 0,0-1 9 15,1-1-9-15,0 1 13 0,2 1-7 0,0-3 20 0,-1 0 1 16,2 0-1-16,1-2 1 0,0 1-2 16,-1-1 10-16,4 1-7 0,-2 1 5 0,1-2-10 15,3 0 7-15,-2 1-13 0,-1-2 10 0,3 2-16 16,-2 0 13-16,-1 0-10 0,2 0 4 0,-1 1-9 15,-1-2 12-15,1 1-8 0,-1 1 8 0,-1 0-12 0,1-1 16 16,0 0-19-16,1 1 17 0,-1 0-20 16,3 0 33-16,-1 0-20 0,0-1 12 0,1 1-17 15,1 0 26-15,-1 0-19 0,0-1 14 0,-3 1-20 0,0 0 17 16,-2 1-19-16,1-1 13 0,-3 1-26 0,-1-1 19 16,-1 2-13-16,2-1 16 0,-3 1-22 0,1-2 15 15,0 1-23-15,-1 1 25 0,1-1-19 0,-3 2 17 16,3 0-19-16,-1-2 17 0,0 0-18 15,1 1 20-15,-2-1-22 0,-7 0 20 0,8 1-14 0,-2-1 14 16,1-1-17-16,1 1 18 0,0-1-19 16,-1 1 22-16,1-1-15 0,-6 0 22 0,4 1-19 0,-4-1 17 15,-1 0-17-15,-2 2 18 0,1-2-24 0,0 0 19 16,-1 0-18-16,1 0 23 0,-2 0-24 0,1 0 19 16,1 0-15-16,-2 1 18 0,1-1-19 0,-1 0 18 15,1 0-19-15,-1 0 22 0,2 0-23 0,-1 1 17 16,-1-1-14-16,1 0 11 0,-2 2-13 0,0-2 10 15,-1 0-16-15,0 0 18 0,-6 1-16 0,0-1 17 16,1 0-19-16,-1 0 17 0,0 0-14 0,0 0 12 0,0 1-12 16,-1-1 18-16,-2 0-20 0,1 0 15 15,0 0-12-15,-3 1 14 0,3-1-15 0,-2 0 14 16,1 0-14-16,-2 0 17 0,1 1-15 0,2-1 12 16,-2 0-17-16,1 1 16 0,-1 1-16 0,0-2 14 0,0 1-15 15,0-1 4-15,0 0 15 0,1 1-19 0,-1-1 20 16,-3 0-17-16,4 1 14 0,-3-1-19 15,1 0 21-15,1 0-18 0,-1 0 17 0,-3 0-16 16,-2 0 12-16,2 0-13 0,3 0 18 0,-3 0-18 16,3 0 19-16,-4 0-22 0,2 0 16 0,-2 0-10 0,1 0 15 15,-1 1-18-15,-1-1 18 0,2-1-17 16,-1 1 18-16,0 0-19 0,0 0 17 0,1 0-14 0,-1 0-3 16,-1 0 4-16,0 0 1 0,1 0 0 15,-2 1 2-15,0-2-2 0,-1 1 2 0,3 0 0 16,-3-1 2-16,1 0 0 0,0 1-1 0,-2 0-4 0,1-1 6 15,2 1 0-15,-1-3-1 0,-1 3-4 0,0 0 5 16,0-1 0-16,0 1-13 0,0 0 14 0,-2 0-1 16,3-1 2-16,-3 1-1 0,2 0-3 15,-1 0 3-15,-1 0-3 0,-1 0 0 0,1 0 1 16,1 0 3-16,-1-1-1 0,-2 1 11 0,1 0-13 16,0-1 11-16,-1 1-20 0,-2-2 20 0,3 2-16 0,-2-1 15 15,-1 0-18-15,2-1 17 0,-1 1-18 0,0 0 17 16,-1 0-16-16,2 0 18 0,-2 1-20 15,0-2 18-15,2 1-17 0,-3-1 16 0,1 1-17 16,0 0 20-16,-1 0-19 0,2-1 15 0,-2 1-12 16,1 0 9-16,0 1-12 0,0-2 16 0,-2 1-17 0,1 0 18 15,-1 1-18-15,1-1 20 0,0 0-18 16,-3 1 17-16,-1-2-16 0,3 1 16 0,-2-1-15 16,-10 2 27-16,15-4 9 0,-15 4 11 0,16-4-17 15,-16 4 4-15,11-5-11 0,-11 5 7 0,13-7-7 16,-7 2 17-16,-1 1 1 0,1-1 8 0,-1 1-10 15,2-2-3-15,-2-1-9 0,2 2 2 0,-1-2-8 0,-1 0 16 16,4-1-10-16,-2-1 7 0,0 1-2 0,3-3-2 16,-3 2-4-16,0-2-8 0,3-1 6 15,-2-1-9-15,1-1 8 16,-1 0 4-16,0-3-3 0,1-1 0 0,-2 0-7 0,0 1 0 0,-2 0 2 16,-1 0-6-16,1 1-8 0,-3-1 1 0,-2 3-2 15,-2-2 3-15,-1 0-1 0,-2 2 0 0,-1 2-9 0,-2 0-74 16,-2 3-84-16,-4 0-58 0,1 2-87 15,-4 2-73-15,-1 2-129 0,1-1-377 0,-4 1-452 16</inkml:trace>
  <inkml:trace contextRef="#ctx0" brushRef="#br0" timeOffset="-183670.77">1749 9799 117 0,'0'-8'283'0,"0"8"-67"0,0 0-27 0,0-6-13 16,0 6-13-16,0 0-23 0,0-8-28 0,0 8-8 16,0 0-11-16,0-9-14 0,0 9 2 0,3-7-3 15,-3 7-3-15,1-7-4 0,-1 7-8 0,1-6-13 16,-1 6 0-16,3-7-4 0,-3 7 2 0,1-6 0 16,-1 6-7-16,3-6-1 0,-3 6-20 0,1-6-13 0,-1 6 20 15,3-6-11-15,-3 6-2 0,0 0-9 16,2-9 6-16,-2 9 5 0,3-5 9 0,-3 5 9 15,0 0-23-15,3-7 15 0,-3 7-3 0,0 0-8 16,0 0-10-16,4-6-28 0,-4 6 26 0,0 0-4 0,4 5-2 16,-4-5 5-16,8 12-10 0,-4-2 37 0,2 4-4 15,2 4 5-15,-2 5 32 0,4 4-16 16,3 7 19-16,0 4-15 0,0 2 4 0,2 1-7 0,-1 0 4 16,4-1-2-16,-3 1-6 0,2-1-5 0,-1 1 3 15,0 0 14-15,-1-3-4 0,-2 0-2 16,-3 0 11-16,3-2-29 0,-4-6 16 0,0-1-23 0,0-1 12 15,-3 1-19-15,-1-5 15 0,2 0-22 0,-2-1 14 16,-1-1-18-16,1-2 12 0,-3-3-17 0,2-1-35 16,-1-2-50-16,-1-1 3 0,-1-4-17 0,2 1-25 15,-3-4-52-15,0-6-101 0,1 7-64 0,-1-7-442 16,0 0-303-16</inkml:trace>
  <inkml:trace contextRef="#ctx0" brushRef="#br0" timeOffset="-182695.77">1855 9643 237 0,'0'0'340'0,"-10"-2"-58"15,10 2-60-15,-9-2-10 0,9 2-44 0,-8-4 6 16,8 4-27-16,0 0-29 0,-5-7-20 0,5 7-6 16,0 0-11-16,7-7-13 0,0 2-7 0,3 0-13 15,5 0-9-15,1 0-5 0,7 0-7 0,3-3-1 16,7 2-4-16,1 0-4 0,9-2-4 0,3 2-2 15,0-1-3-15,5 1 0 0,0 0 3 0,5 1-2 16,3 0-2-16,2 1 0 0,2 3-1 0,0 0 0 16,-1 0 0-16,2 1 0 0,-1 1 1 0,-2 0-16 15,-1 0 14-15,-4 2-13 0,2-2 14 0,-3 2-16 0,-4-2 17 16,3-1-13-16,-5 0 13 0,-5 0-16 16,-1-1 14-16,1 0-9 0,-3-1 5 0,7 0-10 15,-8-1 16-15,2 1-15 0,-2-2 13 0,-2 1-16 16,0-2 19-16,2 1-18 0,-4 0 15 0,-2 0-13 15,1-1 15-15,-2 0-14 0,-5 2 13 0,1-1-8 0,0 0 11 16,-4-1-20-16,3 2 19 0,-3-1-15 16,0 1 14-16,1-2-16 0,-2 1 16 0,1 1-15 0,1 0 14 15,-2 1-12-15,2 0 18 0,-2-2-10 0,3 1 21 16,-3 0-7-16,-1 1 2 0,-1 0 1 16,0 0-3-16,-3 0 6 0,3-1-28 0,-2-1 27 0,1 3-6 15,-2-1 1-15,0 0-3 0,-1 0 8 0,0 1-17 16,-3-1 1-16,2 1-3 0,-3 0 6 0,0-1-7 15,-3 2 2-15,2-2-1 0,-13 2 0 0,18-1-5 16,-18 1 2-16,16-2-1 0,-16 2 4 0,13-1-2 16,-13 1 2-16,13-1-5 0,-13 1 1 0,9-1 1 15,-9 1 7-15,0 0-8 0,15 0 4 0,-15 0 2 16,0 0-4-16,17 0-1 0,-17 0 3 0,12 0-10 16,-12 0 13-16,0 0-4 0,15-1 6 0,-15 1-8 15,0 0 10-15,14-2-11 0,-14 2-1 0,10-1 3 16,-10 1 2-16,10-2-4 0,-10 2 4 0,11-1-6 15,-11 1 1-15,12-3-18 0,-12 3-9 0,13-3 5 16,-13 3-4-16,13-3 11 0,-13 3-6 16,14-1 16-16,-14 1-11 0,14-2 6 0,-14 2-1 0,13-2 13 15,-13 2-11-15,11-1 15 0,-11 1-12 0,0 0 11 0,16 0-10 16,-16 0 6-16,0 0-8 0,11-1 14 0,-11 1-17 16,0 0 14-16,0 0-12 0,12 0 5 15,-12 0-5-15,0 0 10 0,0 0-8 0,0 0 12 16,11 1-11-16,-11-1 16 0,0 0-14 0,0 0 12 0,9 1-11 15,-9-1 13-15,0 0-10 0,0 0 11 0,10 3-15 16,-10-3 10-16,0 0-6 0,0 0 6 16,13 2-8-16,-13-2 11 0,0 0-11 0,0 0 13 0,0 0-11 15,9 1 10-15,-9-1-19 0,0 0-1 0,0 0-31 16,0 0 12-16,0 0-11 0,12-2 19 0,-12 2-13 16,0 0 26-16,0 0-22 0,8-2 22 0,-8 2-27 15,0 0 18-15,0 0-34 0,0 0 15 0,9-3-42 16,-9 3 32-16,0 0-27 0,0 0 35 0,0 0-38 15,12 1 29-15,-12-1-25 0,0 0 27 0,0 0-36 16,13 3 30-16,-13-3-62 0,7 2 16 0,-7-2-32 16,8 3-68-16,-8-3-173 0,11 2 171 0</inkml:trace>
  <inkml:trace contextRef="#ctx0" brushRef="#br0" timeOffset="-182263.61">5045 9418 82 0,'0'0'253'16,"0"14"-62"-16,1-7-40 0,1 4-35 0,-1 0-12 16,0 1-19-16,-1 5-7 0,3 0-2 0,-2 1-30 15,3 0 31-15,-3 1-42 0,3 4 40 0,1-2-42 16,-1 4 28-16,0-2-30 0,0 1-1 0,-1 3 1 15,0-1-8-15,0 1-6 0,-1 1 32 0,-1 0-38 16,1 1 31-16,-1-1-40 0,-1 1 30 0,0 0-38 16,0 1 36-16,0 0-37 0,0-1 30 15,-1 3-31-15,-2-3 32 0,3 0-30 0,-1-1 26 0,0 0-34 16,-2-1 34-16,2 0-32 0,-1 0 29 0,1-1-34 16,0 0 34-16,1-2-37 0,-1-1 40 0,-2 1-39 15,3-3 8-15,0 0-2 0,-1-2 3 0,1 0 9 16,0 0-4-16,-2 0 7 0,2 0 10 0,2 1 25 15,-2-2-4-15,0 0-7 0,0 0-5 0,1-1 9 16,-1-1 4-16,0 1-6 0,0-4-4 0,1 2-3 16,1 0-5-16,-2-1-2 0,1-3-2 0,-1 2 1 15,1-1-2-15,-1-2-5 0,1 1-34 0,1-3-36 16,-2 1-5-16,1-3-90 0,-1 1-16 0,0-7-326 16,1 11 5-16</inkml:trace>
  <inkml:trace contextRef="#ctx0" brushRef="#br0" timeOffset="-181068.77">2238 10865 227 0,'0'0'246'0,"0"0"-51"0,0 0-44 0,0 0-24 0,-13 0 1 16,13 0 3-16,0 0 7 0,0 0-19 0,0 0-17 15,0 0-15-15,15 2-16 0,-15-2-6 16,14 0-6-16,-14 0 0 0,20 2-3 0,-7-2-2 0,1 0-7 15,3 2-7-15,2-2-26 0,3 1 32 16,0-1-28-16,3 1 26 0,3-1-32 0,0 1 25 0,4-1-28 16,-2 0 19-16,2 0-27 0,-2 0 22 0,3 0-20 15,1 1 31-15,2-1-24 0,-5 1 20 0,1 1-26 16,7-2 18-16,-9 1-19 0,2 0 22 0,0-1-24 16,-1 1 28-16,1 0-25 0,-3 0 24 0,3-1-11 15,-1 2 7-15,-2-2-11 0,3 1 12 0,0-1-8 16,0 1 15-16,0 1-9 0,0-2 4 0,0 0-5 15,1 0-1-15,3 0-8 0,-3 0 5 0,1-2 10 16,-3 1-7-16,3 1-2 0,-2-1-7 0,-3-1 5 16,3 1-11-16,-3-1 4 0,1 1-5 0,-1-2 14 15,-1 1-12-15,-1 1 10 0,1-1-11 0,-2-1 9 16,-2 0-3-16,0 1 4 0,1 0-9 0,-1-1 0 0,-3 1-1 16,0 0 0-16,1-1-1 0,1 2 0 0,-3-3 1 15,2 3-1-15,1-1 2 0,1 1 1 16,-2-2-2-16,2 1-30 0,-2 1 38 0,1-2-3 15,-1 2-2-15,-1-2 3 0,1 2 2 0,0-1 0 0,0 1-4 16,-2-2 4-16,4 1-6 0,-3 1-1 16,-2-1 13-16,3 0 1 0,-3-1-4 0,1 1-1 0,1 0-1 15,-2-1-7-15,1 1 3 0,1 0 3 0,-2 0-5 16,0-3 0-16,-1 3-1 0,1-1 1 0,0 0-8 16,-1 2 3-16,0-1 0 0,0-1 0 0,0 1-2 15,1-1 1-15,-2 1 0 0,1 0-3 0,-2-1 3 16,2 2 1-16,-1 0 0 0,2-1 2 0,-1 0 5 15,-2 0-2-15,2-1 2 0,2 1 5 0,-3 0-1 16,0-1-3-16,2 1 33 0,-1 0-27 16,0-1 20-16,0 1-26 0,-1-1 19 0,-1 1-26 0,-2-1 24 15,0 1 3-15,-1 1 20 0,2 0-3 0,-3-2 9 16,1 2-12-16,-2 0 17 0,2-1-8 0,-2 0 19 16,0 1-1-16,0-1 5 0,-2 0-10 0,-9 2 0 15,18-3-13-15,-18 3 1 0,15-2-7 0,-15 2-2 16,13-3 0-16,-13 3-14 0,9-1-5 0,-9 1-3 15,10-2-8-15,-10 2 0 0,0 0-6 0,12-3-4 0,-12 3-63 16,0 0-54-16,6-4-78 0,-6 4-49 16,0 0-114-16,0 0-79 0,0 0-608 0,0 0-652 15</inkml:trace>
  <inkml:trace contextRef="#ctx0" brushRef="#br0" timeOffset="-179880.35">5522 9828 376 0,'23'-1'419'0,"-13"-1"-62"0,7-1-55 16,-2-4-14-16,5 1-86 0,2-1 4 0,1-3-22 16,4-1-33-16,1-1-29 0,-1 1-21 0,1 0-23 15,-1-1-15-15,-3 1-5 0,-2 2-16 0,0-1-7 16,-3 1-7-16,-1 1 0 0,-3 1-9 0,-2 1-4 16,-2 1-40-16,-2-1-42 0,0 1-52 0,0 3-52 15,-9 2-35-15,9-6-106 0,-9 6-376 0,0 0-197 0</inkml:trace>
  <inkml:trace contextRef="#ctx0" brushRef="#br0" timeOffset="-179629.35">5866 9448 468 0,'0'0'342'0,"0"0"3"15,6 6-37-15,-6-6-39 0,5 13-25 16,0-4-22-16,-1 4-18 0,2 0-45 0,2 0-28 0,0 1-18 16,-2 4-16-16,3 0-17 0,0 0-13 0,-1 2-10 15,-2-1-13-15,2-1-6 0,-1 0-2 0,-2-1-26 16,1 0 17-16,-4-1-65 0,2 0-20 0,-1 0-84 16,-2-1-35-16,0-1-80 0,-1 0-21 0,-1-2-128 15,0 0-191-15,-2-2-110 0</inkml:trace>
  <inkml:trace contextRef="#ctx0" brushRef="#br0" timeOffset="-176987.64">6676 9126 2 0,'2'-8'291'15,"2"2"-72"-15,-1-3-18 0,1 2-25 0,-2-1-16 16,2-1 6-16,1 1-32 0,0-2-17 0,-1 2 12 16,0-3-6-16,-2 3-12 0,1-3-17 15,1 0-5-15,-2 2 28 0,1-1-13 0,-2 0-11 0,2-1-21 16,-2 2-15-16,-1-1 16 0,-1 2-15 16,-2-3-12-16,1 3-8 0,-1-2-11 0,-2 2-4 0,-1 0-4 15,-1 1-4-15,-3 4-6 0,1-1-3 0,-3 1-2 16,0 3-1-16,-1 3 3 0,-5 1 6 0,3 2 15 15,-3 4-8-15,1 0 2 0,-1 2-5 0,4 2 0 16,-1-2 1-16,2 3 6 0,3-1-19 0,4 1 28 16,2-2-32-16,1 2 30 0,3 0-33 0,0 0 36 15,7 0-7-15,-1-1-7 0,7 3 2 0,0-2-8 16,6 3-1-16,1 0 2 0,1-2-1 0,2 0-6 16,1 1 0-16,-1-1 0 0,0 1 1 0,0 0-4 0,-2 0 4 15,0 0-3-15,-2 0-4 0,-3-3 1 16,-1 1-2-16,-2-3 4 0,-2 3 0 0,-3-2-1 15,-2-1 6-15,-2-1-9 0,0 0 2 0,-4 0-1 0,-1 0 9 16,-2-2-6-16,-2 1 0 0,-3 0 5 0,-1 0 3 16,-1-2 8-16,-4 1 0 0,0-2 0 15,1 1-2-15,-3-3-3 0,-1 0-5 0,-1 0-3 0,1-1 1 16,0-1-1-16,-1 0 1 0,1-3-3 0,-1 1 2 16,4-1-4-16,0 0-21 0,0-1-43 0,1-2-35 15,2 0-43-15,0-1-45 0,4-1-4 0,-2-1-86 16,4-3-13-16,1 1-396 0,3-4-192 0</inkml:trace>
  <inkml:trace contextRef="#ctx0" brushRef="#br0" timeOffset="-176720.65">6801 8865 128 0,'5'-10'458'0,"-1"4"-168"16,-1 0-23-16,-3 6-12 0,0 0 10 0,11-1-27 15,-7 7-4-15,0 0-20 0,2 5-10 0,1 3-23 16,-1 4-12-16,4 1-11 0,2 7-1 0,-1-1 5 16,2 1-39-16,-2 2-7 0,2-1-20 0,3 6-19 0,-1-1-12 15,-1 1-13-15,-1-6-8 0,-2 2-7 16,2-2-5-16,0 1-3 0,-2-2-6 0,1-1-3 0,-2 2-44 16,-1-5 24-16,-1-2-177 0,-1-1 29 0,1 0-20 15,-3-3-55-15,0-1-49 0,-1-4-6 0,1 1-73 16,-1-3-78-16,-3-2-208 0,-1-7-149 0</inkml:trace>
  <inkml:trace contextRef="#ctx0" brushRef="#br0" timeOffset="-176377.64">7218 9112 149 0,'0'0'443'16,"0"0"-82"-16,0 0-55 0,0 7-3 0,-3 0-73 15,2 2 7-15,-3 3-18 0,3 1-34 0,-1 2-33 16,1 2-25-16,0 0-25 0,2 2-10 0,-1-1-18 16,4 0-6-16,1 3-5 0,4-3-9 0,0 1-4 0,0-2-14 15,6 0-1-15,-3-3-6 0,2-1 0 16,1-1-8-16,3-1 7 0,-4-3 2 0,0-3 1 16,3-2-7-16,-4 0 1 0,1-2 0 0,-1-3 8 0,-1-2 0 15,-3 1 3-15,3-4-3 0,-4-3-4 0,-1 0-4 16,-2-3-3-16,-2 0-6 0,-3-1 5 0,0-2-5 15,-3-1-17-15,-2 0 19 0,0-2-18 0,-4 1 12 16,0 0-13-16,-1 1 19 0,-3 2-22 0,0 0 15 16,0 2-1-16,-2 1-5 0,2 1-1 0,-3 3 0 15,2 1 1-15,-3 0-6 0,4 3-30 0,-3 1-28 16,3 1-58-16,0 1-13 0,13 1-66 0,-23 1 7 16,13 1-54-16,0 0-13 0,2 1-33 0,-1 1-64 15,4 1-280-15,5-5-142 0</inkml:trace>
  <inkml:trace contextRef="#ctx0" brushRef="#br0" timeOffset="-175796.83">7601 8827 316 0,'0'0'353'0,"0"0"-38"0,5 6-11 16,-5 0 10-16,4 5-38 0,1 1-13 0,-1 5-14 16,5 3-12-16,1 6-17 0,2 0-4 0,3 8-28 15,2-1 0-15,-1 1-27 0,3-2-11 0,-1 2-22 16,1-1-32-16,-2 1-6 0,2-3-19 0,0 2-10 15,-2-2-10-15,1-1-11 0,-5-4-4 0,1-1-6 16,-1-1-5-16,-2 2-4 0,-1-7-4 0,-1 1-7 16,0-2-15-16,-4-2-33 0,2-3-16 0,-2 0-6 15,-1-1-4-15,-2-2 16 0,2 0 10 0,-1-5-19 16,-3-5-42-16,0 10-26 0,0-10-10 0,0 0-9 16,0 0-7-16,-16-6-1 0,6-2 1 0,-3-7-1 15,-1-4 6-15,-4-5 16 0,-1-6 8 0,-1-4 23 16,-1 0 18-16,-2-5 15 0,5-1-12 0,-2 0 39 0,1 0 14 15,2-2 16-15,2 2 24 0,3-3 25 0,1 5 24 16,2-1-6-16,5 7 5 0,1 3-14 16,5 3 1-16,-1 0-6 0,4 2-5 0,3 2 3 15,-1 1 7-15,5 6 1 0,1 1-12 0,-2 4-8 0,2 3-11 16,1 4 6-16,0 2-8 0,0 2 5 0,0 4-16 16,1 2 21-16,0 1-1 0,0 5-5 0,-2 0 1 15,-3 1 9-15,-1 1-4 0,-1 2-11 0,-5-2 16 16,0 2-21-16,-3 0 7 0,0-1 30 0,-5 1-30 15,0 1 22-15,-3 1-32 0,-3-2 21 0,-1 0-4 16,2 0-2-16,-4 0-4 0,2-3-1 16,0-2-35-16,1 0-36 0,1-2-74 0,0-1 7 0,2-3-36 15,0 1-65-15,3-4-57 0,5-3-50 0,-10 2-313 16,10-2-154-16</inkml:trace>
  <inkml:trace contextRef="#ctx0" brushRef="#br0" timeOffset="-175479.83">7988 9056 212 0,'18'-4'353'16,"-5"0"-70"-16,4-1-36 0,-2 3-21 0,3-3-28 16,0-1-30-16,-3 0-11 0,3 1-7 0,-1-2-23 15,2-1-9-15,-4 2-8 0,-1-3-16 0,2 1-14 16,-4-3-9-16,1 3-6 0,0-4-16 0,-4 1-13 0,-2-1-6 16,1 0-5-16,-5 1-9 0,-2-1 0 0,0 2-4 15,-2 1-4-15,-3 1 17 0,-1 1 7 16,-4 2 13-16,0 2 19 0,-4 2-3 0,-1 2 22 0,-1 3-7 15,-2 0-7-15,-2 5 0 0,1 0 8 0,2 4 10 16,-1-3 0-16,4 4-12 0,-2 0-9 0,2 1-4 16,5-4-12-16,2 3 13 0,-2 0-3 0,6-1 6 15,1-1-19-15,1 1-4 0,2 0-10 0,2 1 6 16,5-1-15-16,1 3 4 0,2-1-12 0,3-2 7 16,-1 2-11-16,5-2 12 0,-1-1-45 0,0 1-36 15,4-1-40-15,-2-4-49 0,-2 2-33 0,1-2-66 16,0 1-4-16,-1-3-33 0,-2-1-33 0,0-2-49 15,0 1-398-15,-2-1-277 0</inkml:trace>
  <inkml:trace contextRef="#ctx0" brushRef="#br0" timeOffset="-175200.82">8070 9601 509 0,'-19'17'533'0,"4"-6"-127"16,-1 3-26-16,5-3-30 0,3-1-35 0,-2 1-32 15,6-5-3-15,4-6-28 0,-1 11-4 0,1-11-42 16,15 4-29-16,-2-3-37 0,5-2-25 0,2 0-21 0,7-2-15 16,0-2-23-16,7-1-6 0,1-1-10 0,1-2-18 15,5 1-74-15,-7-2-69 0,-2 3-56 0,0-1-61 16,-3 0-83-16,-4 2-98 0,-2 2-106 0,-7-3-321 15,0 4-389-15</inkml:trace>
  <inkml:trace contextRef="#ctx0" brushRef="#br0" timeOffset="-175012.83">8321 9817 45 0,'-16'12'667'0,"1"1"-85"0,2-5-81 0,0 2-4 15,3-3-50-15,1 0-19 0,3-1-46 0,-2-1-56 16,8-5-84-16,-5 6 3 0,5-6-18 0,0 0-10 15,13 0-48-15,-13 0-22 0,19-4-43 0,-4-1 1 16,3 1-36-16,5-3 3 0,-1-1-12 0,1-1-14 16,0 1-6-16,1-1-12 0,-1 0-10 0,-1 1-46 15,1-2-50-15,-4 3-42 0,-1-3-44 0,0 4-47 16,-5-2-65-16,-1 1-8 0,0 1-47 0,-3-1-116 16,-2 1-49-16,1 0-512 0,-3-1-612 0</inkml:trace>
  <inkml:trace contextRef="#ctx0" brushRef="#br0" timeOffset="-168641">25580 7756 115 0,'75'-29'150'0,"6"0"-28"16,-3-1-2-16,-2-3-53 0,-1 2 5 0,-5 0-19 16,3-2-35-16,-4 2-35 0,-1 1-32 15,1-1-159-15,-2 1 65 0</inkml:trace>
  <inkml:trace contextRef="#ctx0" brushRef="#br0" timeOffset="-167264.35">27626 2404 93 0,'-23'27'145'0,"3"1"-31"0,-1 7-31 15,2 3-6-15,2 4-4 0,1 3-21 0,0 10-10 16,4 3-4-16,5-6-3 0,2 0-4 0,4 2-3 15,2 0-4-15,2-1-5 0,3 0 0 0,2-3-3 16,1 0-3-16,2-2 1 0,1-2 1 0,1-2 0 16,-2-2 3-16,4-3 6 0,1-2 27 0,0-2-7 15,-3-7 19-15,2-3 11 0,2-1 27 0,0-4 5 16,-3-3 17-16,4-4 3 0,-2-2 9 0,1-5-25 16,1-2-27-16,-3-4 17 0,4-4-43 0,-1-3 23 15,3-5-48-15,1-5 22 0,0-2-34 0,3-6 18 16,-2-4-32-16,0-1 20 0,-4-2-30 0,1-2 31 15,-4 0-31-15,0 1 24 0,-2-2-32 0,-1 0 30 16,-4 4-22-16,-1 0 26 0,-1 0-10 0,-2 0-22 16,1 0 17-16,-3 5-52 0,1-1-5 0,-1 4-34 15,-2 0-12-15,2 5-36 0,0 0-55 0,-3 4-75 0,2 2-26 16,-2 3-138-16,-2 0 108 0</inkml:trace>
  <inkml:trace contextRef="#ctx0" brushRef="#br0" timeOffset="-166301.59">30174 2654 50 0,'-5'-16'207'16,"-1"3"-73"-16,0-3-4 0,-1 2-48 0,-1 0 13 15,0 0-45-15,0 1 11 0,-1 1-37 16,0 0 24-16,-2 1-40 0,0 2 26 0,0 0-29 16,-2 3 24-16,-1 0-41 0,-1 3 30 0,-1 1-24 15,-2 2 24-15,-2 3-22 0,-1 2 23 0,-3 2-29 16,-3 3 27-16,-1 1-20 0,0 4 26 0,-5 3-21 0,-2 2 44 15,1 3-24-15,-1 2 42 0,-2 2 0 16,-4 6-2-16,3 0-11 0,0 3 1 0,3 1 6 16,6-3-2-16,-2 7 17 0,2 2-7 0,6-4 0 15,1 1-17-15,5 1-1 0,-2 1-8 0,5 1-5 16,0 0-2-16,5-1-2 0,0 1 3 0,-1-1 18 16,6-1-27-16,3-5 18 0,0 0-34 0,3-2 34 15,1-1-22-15,3 1 27 0,0-1-3 0,5 4-3 16,0-1-6-16,3-3-32 0,2 1 30 0,2-2-26 15,1 1 24-15,1-2-29 0,3-1 35 0,0-1-28 16,3-2 34-16,-1 1-42 0,2-3 32 0,3-1-28 0,-1 0 26 16,2-2-29-16,1-2 20 0,1-2-27 0,1-1 36 15,3-3-37-15,0 1 30 0,0-2-33 16,3-2 20-16,-8-3-23 0,6-2 26 0,-3 0-24 16,3-1 30-16,-1-3-32 0,2 0 34 0,0-4-36 15,1 2 41-15,0-3-33 0,5-2 32 0,0-1-31 0,-1-1 30 16,-2-3-26-16,0 0 29 0,1-3-24 0,-2 0 36 15,0-1-40-15,0-3 41 0,-3 0-39 16,2-1 32-16,-4-1-39 0,1-2 68 0,-3 0-26 16,-2-2 23-16,-1 0-3 0,-2 1-12 0,-2-4-30 15,-5 1 24-15,2-1-24 0,-3-3 18 0,-2-1-30 16,-1-1 27-16,-4-3-35 0,-1 0-3 0,-4-2 0 0,-2 3 1 16,0-7 1-16,-5 4 1 0,2-1 2 15,-3 0 24-15,-1-2-32 0,-5-3 25 0,1 1-26 16,-4 0 29-16,-3 1-16 0,0 1 14 0,-5 2-24 15,0 0 29-15,-5 0-30 0,-2 1-4 0,-2 1-2 16,-3 0 5-16,-8-2 4 0,-1 1-2 0,-4 1 6 0,-4 4-7 16,-1 2-47-16,-4 4-43 0,4 8-58 15,-5 4-63-15,-6 4-146 0,-3 5-385 0,-16 5-262 16</inkml:trace>
  <inkml:trace contextRef="#ctx0" brushRef="#br0" timeOffset="-165751.59">27346 5936 31 0,'-2'-11'173'0,"2"11"-35"0,0-11-39 0,0 11-23 16,0-8-16-16,0 8-13 0,0-9-35 0,0 9-42 15,0 0-49-15,0-8-87 0,0 8 43 0</inkml:trace>
  <inkml:trace contextRef="#ctx0" brushRef="#br0" timeOffset="-162495.86">30775 3783 117 0,'0'0'127'16,"0"-10"-13"-16,0 10-36 0,0-11-14 0,0 11-15 15,1-12-6-15,1 5-2 0,-2 7 4 0,2-10-1 16,1 2 4-16,-3 8 11 0,2-9 12 15,-2 9-18-15,2-9-1 0,-2 9-17 0,2-7-6 0,-2 7-8 16,0 0-12-16,1-7-1 0,-1 7-3 0,0 0-4 16,3-6-2-16,-3 6-1 0,0 0 2 15,0 0-9-15,0 0 7 0,0 0 4 0,0 0 0 0,5 6 3 16,-5-6 8-16,1 7 3 0,-1-7-1 0,4 13-4 16,-2-8 3-16,0 4-6 0,2 1-1 0,1 2 7 15,-1-1-3-15,2 5-1 0,1 2 1 16,0 1-5-16,3 3-1 0,2 5 2 0,1-1-4 0,0 6 5 15,2 2 1-15,0 1-6 0,1 0 4 16,0 3-1-16,-2 0 2 0,0 2-2 0,-1 2 1 0,2-1-4 16,-2 0 10-16,1 4-1 0,0 2 4 0,3 7-4 15,-2 2-2-15,2-1-8 0,-2 1-2 0,2-1 0 16,-4-8 4-16,3 7 0 0,-2-7 4 0,2 0 4 16,0 6 27-16,1-8-11 0,-2 0 10 0,-1 1-10 15,2-1 8-15,-1 1-19 0,-1 2 11 0,2 5-11 16,-1-7 11-16,0 0-13 0,-2 3 9 0,0-3-9 15,1 0 16-15,0-1-11 0,0 3 11 0,-1-5-19 16,0 3 12-16,0-3-11 0,3-2 9 0,-5 1-10 16,3 1 14-16,2-1 0 0,-4-2-17 0,2 1 16 15,-1 1-20-15,0 1 21 0,-3 0-25 0,2 1 28 16,-1 0-26-16,-2-1 21 0,0 1-22 0,1 0 23 0,-3-2-15 16,-2 1 21-16,1 1-22 0,-2-4 28 15,-1-4-26-15,0 0 23 0,-1 1 4 0,-1-2-5 16,0 3-3-16,-1-2-3 0,0 2-7 0,0-1-1 15,1 0-2-15,-1 2-5 0,0-1 5 0,0 1-23 16,-1-1-7-16,1-1 32 0,0 0-2 0,0 1-1 0,-1 0-4 16,0-2 3-16,1 0-5 0,-2 0-1 0,2 0 6 15,0-1-11-15,-2 0-13 0,1 1 5 0,1 0 7 16,0-1 22-16,0 1-28 0,0-2 13 0,-2 2-7 16,1 1-6-16,1 1-5 0,-1-1-2 0,-2 0-1 15,3 2 0-15,-2 5-9 0,0-5-1 0,0-1-2 16,1 4 4-16,-1-4 2 0,1 1 2 0,-2-1-1 15,2 1-23-15,0-2 28 0,-1 0-27 0,1 0 43 16,1 1-42-16,0-2 49 0,-1 1-39 0,0-1 21 0,-2-1-2 16,2 0-1-16,0-1 1 0,-2 0-10 15,3-2 11-15,-1 0 3 0,-2-4-4 0,3 0 8 0,-2-2-7 16,-1 0 6-16,2 0-3 0,-2-1 3 0,1 0 5 16,-1-1-6-16,-1-1 4 0,2 1 1 0,-3-1-26 15,2 0 48-15,-2 0-30 0,1-1 43 0,-1 0-24 16,0 2 35-16,-3-2-26 0,3-1 32 0,0 1-27 15,-1-1-1 1,-1 2-7-16,0-1 6 0,0 1-2 0,0-4-1 0,-1 3 16 0,-2 5-16 0,-1-1 24 16,1-1-12-16,-1 3 5 0,-1-2-11 0,2 5 5 15,-3-4 2-15,0 7-4 0,1-5 1 0,-1 5-14 16,0-1 3-16,0 0-9 0,-1 2 8 0,3-6-21 0,-1 4 13 16,-2 1-7-16,0 0 10 0,3-5-3 15,-2-1 4-15,-1 6-4 0,-1-1-3 0,0-2 3 0,0 2-8 16,2 0 1-16,-3-1 0 0,0 0 7 0,1 0-6 15,2-5-12-15,-1 0-9 0,1-1-19 0,-1 1-5 16,0-1-16-16,0-2-3 0,2 1-2 16,-1-1 16-16,-1-1-20 0,3-2 10 0,1-2-30 15,-1-1 32-15,0 1-30 0,2-3 30 0,-1 1-44 0,3-1 20 16,0-3-37-16,-1 1 40 0,1 0-46 0,1-1 41 16,0-1-56-16,-1 0 33 0,0-1-32 0,2 0 7 15,0-3-89-15,1 1-140 0,2-2 189 0</inkml:trace>
  <inkml:trace contextRef="#ctx0" brushRef="#br0" timeOffset="-161869.27">31040 9764 208 0,'0'0'286'16,"0"0"-26"-16,0 0-61 0,-13 1 43 0,13-1-70 16,-6 3-33-16,6-3 20 0,-7 5-37 0,7-5-11 0,-8 9-11 15,6-4-15-15,-1 0 13 0,-2 4 19 0,0-1-31 16,1 3 15-16,-1-2-46 0,1 5 30 16,-1-2-2-16,0 2 0 0,-2 2-4 0,1-2-15 15,-1 2-12-15,-1 4-6 0,-2-3 8 0,2 1-7 0,0-1-4 16,-2 0 14-16,3 0-7 0,0-3-9 0,-1 2 1 15,1-1-1-15,-1-3-10 0,0 2 12 16,3-2-11-16,-1-1-4 0,0 0-10 0,2-2 4 0,1 1-3 16,-1-2 8-16,4 0 10 0,0-1-5 0,0 0 0 15,6 0-11-15,2-2-1 0,3 1-25 0,1-1 16 16,6 0-51-16,0-1-1 0,1-2-34 0,7 4-1 16,-1-4-22-16,0 0-1 0,-1 0-7 0,4-1-26 15,-1 1-3-15,-1-1-89 0,-4 0-19 0,0 0-107 16,1-2-332-16,0 1-191 0</inkml:trace>
  <inkml:trace contextRef="#ctx0" brushRef="#br0" timeOffset="-151880.53">21073 12623 183 0,'2'-16'439'0,"-2"5"-88"0,3-2-21 16,-2 2-52-16,0 2-39 0,2-2-16 0,-2 4-27 0,0-1-45 15,-1 1-33-15,0 7-31 0,3-9-22 16,-3 9-13-16,1-9-12 0,-1 9 27 0,0 0 36 15,0 0 4-15,7 10-17 0,-5-3-30 0,-1 4 16 0,3 3 31 16,-2 4-2-16,-1 6-14 0,0 2-14 0,-1 3 0 16,-1 6 9-16,-3 9-9 0,-1-1-2 0,-2 3-14 15,1 0-12-15,-3 0-3 0,3 0-6 0,-1-2 7 16,0-2-5-16,-1-1-1 0,4-6-8 0,2-3 9 16,0-4-3-16,1-2 14 0,0 1-2 15,3-5 2-15,0 1 8 0,0-3 10 0,2-2-6 0,4-2-7 16,1-1-8-16,2-2-7 0,3-1-5 0,4-3-10 15,4 0-3-15,1-4-6 0,2 1-1 0,0-4-1 16,3 0-27-16,1-2-47 0,-1 0-56 0,0-1-26 16,0-1-11-16,-1-1-36 0,0 0 7 0,-1-1-23 15,-5 0 11-15,4-1 3 0,-4-1 16 0,2-2 19 16,-5 1-8-16,3-3 28 0,-3 0 6 16,1 0 40-16,-1-3 10 0,-2 0 18 0,3-5-3 0,-2 1 28 15,2-2-12-15,-5 0 25 0,3-2 4 0,-3 1 43 16,-1 2 11-16,-3 0 6 0,3 0 34 0,-4 1 11 15,-2 2 41-15,1 2 39 0,-3 3-28 0,1 0-27 16,0 2-39-16,-4 0-8 0,-2 8-18 0,0 0 10 0,0 0 17 16,0 0-11-16,-9 3-3 0,2 4-13 15,2 0-9-15,-2 4-12 0,3-2 4 0,2 3-9 16,-1 1 18-16,2-1 1 0,2 2 4 0,2 0 2 0,2 1 5 16,1-2-5-16,3 1 1 0,3 1-11 0,1-3-2 15,2 1-9-15,-2-3-1 0,2-2-5 0,-2-2 3 16,2-1-13-16,-3-2 13 0,-1-2-10 0,2-2 6 15,-3-1-3-15,-1-4-1 0,1 0-3 0,-3-5-3 16,-2-2-4-16,-1-2 3 0,-2 0-4 0,-2-2 0 16,0 2 0-16,-4-1 1 0,0 0-10 0,-1 1 7 15,-1 0-8-15,-4 2-9 0,1 2-56 0,-2 0-22 16,0 3-47-16,0 0-26 0,0 4-37 0,-1 0-27 16,1 2-26-16,11 2-30 0,-19 0-22 0,19 0 12 15,-13 2-78-15,13-2-288 0,-7 4-171 0</inkml:trace>
  <inkml:trace contextRef="#ctx0" brushRef="#br0" timeOffset="-151556.53">22245 12989 424 0,'12'-10'438'0,"-3"2"-43"16,-1 1-44-16,-2 0-47 0,1 1-62 0,-5-1-48 0,-2 7-41 15,0-5-10-15,0 5-14 0,0 0-18 16,-11-2-19-16,11 2-15 0,-12 7-31 0,4 1 9 0,3 0-10 15,-2 1-3-15,3 1-10 0,0 4-3 16,1-1-3-16,2 0-4 0,2 4-17 0,2-2 15 0,2 3-21 16,0 2 16-16,4 0-16 0,1-1 16 0,2 1-22 15,1-2 18-15,-2 2-14 0,-2-3 15 0,0-3-14 16,-1-1 14-16,-2-1-15 0,-2-2 37 0,-1-1 21 16,-3-1 15-16,-3-1-22 0,-1-3 10 0,-5 0-17 15,0 0 0-15,-2-2-17 0,-1-1 8 0,-3-1-10 16,2 0 2-16,0-1-10 0,-2 0 6 0,2 1-11 15,-2-1 4-15,2 0-11 0,-1 1-34 0,3-3-70 16,0 3-23-16,11 0-35 0,-18-1-29 0,18 1-3 16,-10-3-55-16,10 3-4 0,0 0-61 0,0 0-34 15,5-5-275-15,0 0-131 0</inkml:trace>
  <inkml:trace contextRef="#ctx0" brushRef="#br0" timeOffset="-151289.43">22529 12998 484 0,'13'-14'414'0,"-2"3"-71"15,-1 0-57-15,-3 3-44 0,-2 0-51 16,1 3-42-16,-6 5-30 0,3-7-6 0,-3 7-23 16,0 0 2-16,0 0 1 0,-1 9-39 0,1-1 11 0,0 0-13 15,1 4 4-15,2 0-8 0,2 3 2 0,0 1-6 16,2 3-19-16,0 1 12 0,3 0-6 0,-1-1 18 16,2 1-22-16,-2 0 9 0,-1-1-18 0,-2-2 13 15,-1-2-21-15,-1 1 24 0,-3-4-1 0,-2-1 24 16,-3-1-15-16,-1-2 8 0,-3-2-24 0,-3 0 15 15,0-3-19-15,1 0 16 0,-3-2-18 0,0-1 11 16,-1-1-19-16,2-2 9 0,0 1-13 0,-2 0 17 16,1-2-56-16,2 0-41 0,1 2-54 0,-1-2-45 15,2 1-65-15,3-1-123 0,6 4-57 0,-10-7-315 16,10 7-235-16</inkml:trace>
  <inkml:trace contextRef="#ctx0" brushRef="#br0" timeOffset="-151078.17">22618 13043 348 0,'0'0'559'0,"3"-10"-166"15,-3 10-51-15,0 0-14 0,0 0-43 0,-12 1-37 0,5 4-33 16,-2 4-32-16,-3 2-12 0,0 3-39 0,-3 2-12 16,-1 4-32-16,0 1-5 0,-1 4-24 0,2 0-3 15,-3 4-16-15,-1 1 7 0,3 1-15 16,1-5 5-16,2 2-52 0,-2-2-41 0,2 1-67 0,0 0-38 15,3 0-71-15,-1-1-57 0,-1-1-77 0,3-5-433 16,0 1-325-16</inkml:trace>
  <inkml:trace contextRef="#ctx0" brushRef="#br0" timeOffset="-150685.2">23107 12664 384 0,'0'0'451'0,"5"12"-73"0,0 1-36 0,-1 3-33 16,1 9-12-16,-1 4-17 0,1 6-39 0,-2 10 9 16,-2 2-6-16,2 2-24 0,-5 3-16 0,0 0-27 15,-1 1-23-15,-3 2-21 0,-1-2-24 0,1-1-18 16,-3-1-17-16,3-2-13 0,-1 0-14 0,1-3 0 15,-3 1-12-15,4-2 4 0,-2-3-8 0,2 0-10 16,0-7-71-16,-1-2-48 0,1-2-39 0,1-5-60 16,0-2-41-16,2-3-62 0,0-3-33 0,0-6-85 15,2 0-477-15,0-12-457 0</inkml:trace>
  <inkml:trace contextRef="#ctx0" brushRef="#br0" timeOffset="-150409.18">23561 12997 382 0,'8'3'359'16,"-3"3"-14"-16,0 1-42 0,-3 3-13 0,-1 3-11 15,1 0-7-15,-2 4-35 0,-2 1-20 16,2 1 14-16,-1 0-41 0,1 2 21 0,1-1 12 0,1 0-9 16,0 2-9-16,2 0-21 0,0-2-18 0,1 1-7 15,3-1-16-15,1-2-1 0,0 0-16 0,2-2-14 16,1-1 3-16,-1-2-44 0,3 1 16 0,3-3-40 15,-1-2 17-15,1-1-36 0,1 0 21 0,-1-3-35 16,2 0 5-16,0-1-17 0,0-2-27 0,0 1-71 16,0-2-39-16,-1-1-57 0,0-1-65 0,-4-2-64 15,0 0-70-15,-2-1-147 0,-2-3-567 0,-5-1-720 16</inkml:trace>
  <inkml:trace contextRef="#ctx0" brushRef="#br0" timeOffset="-150268.2">23620 13205 101 0,'-11'-4'622'0,"1"1"-125"0,4-1-103 0,6 4-74 16,-3-8-43-16,3 8-71 0,7-11 1 0,0 5-33 0,7 0-31 15,-1-1-30-15,1-1-17 0,3 3-14 0,3-2-18 16,-1-1-41-16,1 2-59 0,0-2-71 16,-3 3-67-16,-1-2-85 0,-2 1-78 0,2-1-426 15,-5 1-279-15</inkml:trace>
  <inkml:trace contextRef="#ctx0" brushRef="#br0" timeOffset="-150040.2">23597 12906 514 0,'0'0'414'0,"19"2"-61"0,-8 1-92 16,1 0-7-16,-1-2-88 0,2 1-2 0,1-1-63 16,0 2 18-16,0-1-54 0,0 0 21 0,0 1-101 15,-1 1-72-15,0-2-114 0,0 0-105 0,-3 1-285 16,1-2-105-16</inkml:trace>
  <inkml:trace contextRef="#ctx0" brushRef="#br0" timeOffset="-149820.08">23574 12866 600 0,'-12'-2'525'0,"12"2"-74"15,-8-5-84-15,8 5-65 0,0 0-70 0,-5-8-55 16,5 8-31-16,5-5-31 0,-5 5-21 0,11-5-19 15,-11 5-16-15,16-2-12 0,-7 1-59 0,-9 1-61 16,19-1-48-16,-19 1-52 0,20-2-48 0,-9 4-45 16,-11-2-77-16,18 1-280 0,-18-1-134 0</inkml:trace>
  <inkml:trace contextRef="#ctx0" brushRef="#br0" timeOffset="-146313.9">24146 13009 52 0,'0'0'446'0,"0"-11"-81"0,0 11-51 16,1-9-53-16,-1 9-57 0,4-6-24 0,-4 6 6 15,12 4-34-15,-5 0 18 0,2 6-18 0,5 5 4 16,-3 3-15-16,3 7 3 0,2 6-30 0,0 2 6 0,0 1-36 16,0 0 17-16,-1 1-26 0,-4 0 4 15,1-5-25-15,-4 0 4 0,-3-1-22 0,-1-4 6 16,-4-2-4-16,0-2-8 0,-4-1-2 0,-1 0 14 15,-3-3 8-15,-1-2 4 0,1-4 21 0,-1 1 10 16,-2-4 2-16,2-2 13 0,0-1-13 0,1-3-17 16,8-2-13-16,-18-2-10 0,11-3-8 0,2 0-17 15,-3-3 8-15,4-3-8 0,2-1-5 0,0-1-3 0,4-3-4 16,0-1-1-16,2-3-5 0,5-1 4 0,0 0-3 16,4-2-2-16,3 1-2 0,3-1 3 15,-1 2-4-15,7-3-39 0,-4 4-24 0,7-2-13 16,-6 4-7-16,4 3-1 0,-1-1 3 0,-1 1-1 0,3 1 15 15,-5 3 14-15,1 0 5 0,-3 3 9 0,0-2 6 16,0 2 6-16,-1-1 7 0,-6 4 2 0,4-2 5 16,-4 0 1-16,-2 4 4 0,-1-2 4 0,-1 2-6 15,0-1 2-15,-9 4-3 0,14-4 1 0,-14 4 2 16,12 1 19-16,-12-1 25 0,10 9-3 0,-5-2-5 16,-1 3 15-16,-3 0 14 0,4 6 9 0,-3 0-2 15,0 2-6-15,-1 1 0 0,2 1 0 0,-2 3-10 16,1-1-1-16,-2 1-8 0,0-3-3 0,-2 3-6 15,-2-2-5-15,1 1-1 0,-3-1-5 0,0-2 1 16,-3-1 0-16,0-2-2 0,-1-1-4 0,-3-3-17 16,3-2 21-16,-2-1-4 0,-2-2 3 0,1-2 8 15,2-1 2-15,0-3 1 0,11-1-6 0,-22-2-2 16,13-2-3-16,1-1-2 0,1-2-4 0,3-2-2 16,4-1-3-16,0-3-1 0,4 0-2 0,3-2-3 0,2-3 2 15,3 1-2-15,4-3 0 0,2 1-2 16,5 1 0-16,0-1 0 0,1 3-5 0,6-2 8 15,-2 3-4-15,1 1 2 0,-2-1-3 0,3 3 1 0,-1 1 2 16,-1 0-6-16,0 1-10 0,-5 1 24 0,0 2-4 16,-3 0 1-16,-4 0-1 0,-2 3 0 15,0-1-1-15,-4 2-4 0,1-2 0 0,-1 2-4 16,-10 3 1-16,10-2 0 0,-10 2 2 0,0 0 0 0,-4 5 3 16,-1 2-1-16,-3-1 2 0,-2 4-2 0,-1 0 2 15,-1 3-1-15,1 1 5 0,-1 1-2 16,2 1 1-16,2 1-1 0,3-1 8 0,1-1 13 0,2 2-1 15,2-1 3-15,2 0 3 0,5-1-2 0,1 3 6 16,3-3-5-16,2 0 6 0,1-3-2 0,0 0-1 16,0-4-9-16,1-1 0 0,1-2-5 0,0-2 1 15,-2-2 0-15,0-2-6 0,0-2-2 0,2-2 1 16,-3-3-6-16,-1-3 1 0,-2-3-5 0,1-3 4 16,-2-2-1-16,-4-1-3 0,-3 2 1 0,0-1-1 15,-2 1 21-15,-4-1-24 0,-1 0 8 0,-3 1-17 16,-2 0-14-16,-2 4-46 0,-2 0-35 0,-1 2-27 15,-2 2-29-15,1 1-30 0,-2 3-34 0,1 2-34 16,-1-2-32-16,0 5-37 0,6 0-39 0,0 1-6 16,12 0-54-16,-18 0-328 0,18 0-267 0</inkml:trace>
  <inkml:trace contextRef="#ctx0" brushRef="#br0" timeOffset="-146044.91">25278 13114 498 0,'17'5'435'0,"1"-2"-34"16,-4 3-37-16,1 3-40 0,1 0-7 15,-1 3-80-15,-2 2-20 0,-2 0-36 0,-2 3-8 16,-1-2-39-16,-4 1-11 0,0 0-22 0,-4-2-7 16,0 1-21-16,-3 0 15 0,1-1-9 0,-2-1-10 0,0-2 1 15,0-1 28-15,1-1 22 0,-2-1 55 0,3-1-12 16,2-7-20-16,-5 7-23 0,5-7-23 16,0 0-17-16,0 0-22 0,0 0-8 0,6-8-13 15,0 0-2-15,3-1-9 0,4-3-1 0,1 0-8 0,3-3-9 16,-2 2-4-16,7-4 7 0,-3 3-3 0,0 2 2 15,2 0-6-15,-3 0-3 0,1 2 0 0,-4 2-29 16,2 1-42-16,-3 1-47 0,1 1-48 16,-3 1-24-16,0 2-44 0,-1 1-8 0,-11 1-28 0,17 1-20 15,-17-1-35-15,9 6-86 0,-9-6-46 0,2 7-329 16,-2-7-307-16</inkml:trace>
  <inkml:trace contextRef="#ctx0" brushRef="#br0" timeOffset="-145810.8">26055 13258 714 0,'11'-5'528'0,"0"0"-75"0,2 0-75 15,2 2-35-15,1-2-78 0,3 0-23 0,4-1-53 0,0 3-23 16,1-2-41-16,3 1-21 0,0 1-23 15,-1 0-5-15,1 2-78 0,-1 0-67 0,-3 1-79 0,-1-1-116 16,-2 1-111-16,1-2-507 0,-4 2-441 16</inkml:trace>
  <inkml:trace contextRef="#ctx0" brushRef="#br0" timeOffset="-144284.72">27889 12746 124 0,'7'4'406'0,"-1"3"-105"0,3 4 4 0,0 3-72 0,-1 4-6 15,-2 3-13-15,3 5-43 0,0 5 18 0,-3-1-25 16,1 4-5-16,1 4-33 0,-3 2-8 0,1-4-28 16,-2-1 3-16,-2 0-33 0,-2-2 8 0,0 0-28 15,-4-2 10-15,1-1-25 0,-5-5 17 0,3-2-7 16,-3-1 29-16,-1-2 19 0,-3-2 27 0,1-3-15 16,1-4 29-16,-3 0-8 0,2-4 11 0,-1-2-3 15,3-2-2-15,-2-2-26 0,1-2 14 0,1-2-35 16,0-3 5-16,2-2-28 0,0-1 7 0,3-3-27 15,1-1 8-15,2 0-24 0,1-2 14 0,3 0-11 16,-1-1 1-16,6 1-9 0,1-3 2 0,2 2-52 16,1 1-29-16,0-1-46 0,3 3-28 0,1 2-19 15,-2-1-42-15,2 5-41 0,-1-1-40 0,0 1-38 16,-3 4-11-16,4-2-81 0,-2 1-388 0,2-1-329 16</inkml:trace>
  <inkml:trace contextRef="#ctx0" brushRef="#br0" timeOffset="-143894.72">28487 12862 200 0,'8'-9'539'0,"1"3"-97"0,-4 0-121 0,2 3-66 16,-7 3-53-16,10-4-1 0,-10 4-19 0,10 6-34 15,-6 2 24-15,-2 2-19 0,0 4-2 0,0 3-9 16,-2 3-3-16,-2 6-17 0,-2 0 4 0,0 7-23 16,-2-1 2-16,-1 1-10 0,2 0 23 0,-1-2-21 15,-1 1 15-15,1-3-16 0,0-1 13 0,0-4 16 16,3-1 0-16,-1-3-15 0,1-2-5 0,1-2 22 16,0-1 14-16,0-3 29 0,4-2 16 0,2-1-12 15,5 0-21-15,4-2-24 0,6-2-19 0,5-1-22 16,6-2-15-16,2 1-17 0,4-3-8 0,2 0-11 15,0-2-6-15,0 1-5 0,0 0-5 0,-1-1-2 0,-1-1-4 16,-6 1-2-16,0 0-9 0,-2-1-25 16,-1 2-52-16,-6-2-54 0,-3 2-44 0,1 0-60 15,-6 0-90-15,2 1 16 0,-15 0-14 16,13 1-19-16,-13-1-75 0,0 0-134 0,0 8-564 0,-7-6-727 16</inkml:trace>
  <inkml:trace contextRef="#ctx0" brushRef="#br0" timeOffset="-143459.72">27017 13937 549 0,'-11'6'464'0,"6"-2"-84"0,5-4-25 16,0 0-46-16,16 6 6 0,5-5-44 0,11-1-15 15,19-1-20-15,13 1-2 0,21-1-26 0,10 0 1 16,9-2-29-16,7-1 20 0,26 1-4 16,7-2-27-16,3 2-20 0,0-1-23 0,0-1-11 0,-4 0-23 0,1 2-3 15,-4-2 0-15,-4 0 6 0,-2 0 8 16,-26 2 1-16,-2-1-12 0,-5 0-8 0,-5 1-21 16,-9-1-7-16,-9 1-14 0,-18 0-6 0,-4-1-5 0,-6 2-4 15,-11 0-5-15,-10 1-2 0,-2-2-40 16,-4 1-52-16,-7 2-21 0,-4-1-48 0,-12 1-57 0,0 0-98 15,0 0-74-15,-8 6-61 0,-7-3-170 0,-7 2-576 16,-5 0-789-16</inkml:trace>
  <inkml:trace contextRef="#ctx0" brushRef="#br0" timeOffset="-137242.93">16784 12482 249 0,'1'-10'536'15,"0"1"-139"-15,2 2-109 0,-3 7-61 0,4-6 1 16,-4 6-2-16,10 3-25 0,-5 1-23 0,1 6-40 0,1 2 25 16,2 5-31-16,1 1-6 0,0 2-34 0,-1 6-3 15,4 0-29-15,-2 0 1 0,1 1-7 16,-2 0-7-16,0 2-7 0,2-3-7 0,-3 3-1 0,-2-3-28 16,1 3-51-16,-2-6-78 0,-2 0-71 0,-1 0-67 15,-1-5-77-15,-2-2-50 0,2-1-321 0,-4-3-217 16</inkml:trace>
  <inkml:trace contextRef="#ctx0" brushRef="#br0" timeOffset="-137029.35">16593 12635 389 0,'-4'-11'426'0,"0"3"-65"15,6-2-53-15,0 1-37 0,8-2-21 0,7 0-5 16,1-1-52-16,10-1-12 0,3 2-24 0,5-2-9 15,2-1-16-15,4 3-20 0,-1 0-17 0,-1 0-20 16,0 1-10-16,-5 3-14 0,-2-1-5 0,-3 1-10 16,-5 0-8-16,-3 3-5 0,-4 0-8 0,0 2-54 0,-6-1-38 15,0 2-39-15,-12 1-52 0,19 1-38 16,-19-1-68-16,9 5-47 0,-9-5-442 0,8 7-279 16</inkml:trace>
  <inkml:trace contextRef="#ctx0" brushRef="#br0" timeOffset="-136738.35">17345 12598 285 0,'2'10'427'0,"-1"3"-80"0,1-4-33 15,-2 2-62-15,1 0 2 0,-1-1-27 0,4 3-41 16,-2-3-30-16,1 2-25 0,2 2 15 0,0-4-6 16,4 3-15-16,1 0-19 0,1-4-3 0,0 2-13 15,3-3-11-15,0 2-13 0,1-4-11 0,0-1-7 16,0 0-12-16,-2-3 4 0,1-2-8 0,-3-1-3 15,1-1-17-15,-1-5 10 0,-2 3-14 0,-2-5 8 16,-2-2-19-16,-4-1 13 0,3 1-17 0,-8-3 14 16,0-2-19-16,-1 1 13 0,-3-1-11 0,-6 2 14 15,0 1-16-15,-2-1 14 0,-1 7-15 0,-3-1 17 16,2 2-16-16,-2 4-30 0,0-1-47 0,2 2-18 16,0 2-24-16,3 0-52 0,-3 2-33 0,5 0-68 15,1 1 4-15,1 1-32 0,5 0-333 0,1-2-156 0</inkml:trace>
  <inkml:trace contextRef="#ctx0" brushRef="#br0" timeOffset="-136527.35">17641 12464 337 0,'9'-8'502'16,"-1"3"-111"-16,1 2-105 0,-9 3-12 0,11-3-8 15,-2 6 9-15,0 3-42 0,-1 2-12 0,1 3-27 16,0 3 0-16,1 3-18 0,-1 1-4 0,0 3-21 15,1 0-26-15,-1 4-20 0,-1 2-24 0,-1-1-8 16,2 2-12-16,-2-4-9 0,-2 0-6 0,0 1-12 16,-1-1 3-16,1-1-70 0,-3-2-58 0,1 0-59 15,-2-3-30-15,-1-2-37 0,0 0-35 0,0-2-33 16,-1-3-46-16,-2 0-59 0,-1-4-359 0,-1 0-258 0</inkml:trace>
  <inkml:trace contextRef="#ctx0" brushRef="#br0" timeOffset="-136099.49">17687 12796 175 0,'4'-5'322'0,"5"0"-76"0,-1 1 6 0,1-3-58 15,4 1 3-15,4 2-53 0,2-4-4 0,4 2-38 0,-1 1 4 16,6-2-28-16,3 1 6 0,2-1-21 0,-1 0 18 16,4 0-11-16,-2-2 13 0,-2 1-18 15,-2-1-1-15,-2 0-7 0,-5 0 16 0,-3 2 5 16,1-2-21-16,-7 0-7 0,0 2-14 0,-5-3-8 0,-3 5-7 15,-3-1 3-15,-3 6-15 0,-3-10 12 0,3 10-1 16,-13-4 24-16,1 6-6 0,-1 0 15 0,-2 1-18 16,-1 5 20-16,0-1-19 0,0 4 12 0,0-1-17 15,3 4 15-15,0-2-16 0,4-2 16 0,3 5-16 16,2-2 12-16,1-2-5 0,3 1-1 0,3 0-2 16,1-1-2-16,2-1-4 0,3-2-4 0,4 0-2 15,0-2-1-15,2-2-9 0,0-2 7 0,-1-2-2 16,4-2-11-16,1-2 10 0,-3-2-16 0,4-2 13 15,-1-2-19-15,-1-1 13 0,-1-1-14 0,-4 3 14 16,-1-1-14-16,0 2 12 0,-2-1-11 0,-1 2 10 16,-1 2-16-16,-2 0 12 0,-6 5-15 0,8-4 16 15,-8 4-10-15,0 0 8 0,7 6-7 0,-7-6 16 16,3 10-13-16,-2-3 12 0,0 3-11 0,2 1 14 0,0 0-4 16,-1 1 5-16,2 3 3 0,0-3-2 0,0 3-34 15,1-1-47-15,-1 1-24 0,-1-2-49 16,1 0-62-16,0-1-16 0,0-2-38 0,0 1-27 15,0-2-47-15,1 0-73 0,0-3-148 0,-1-2-66 0</inkml:trace>
  <inkml:trace contextRef="#ctx0" brushRef="#br0" timeOffset="-133649.1">18583 12362 124 0,'5'-8'513'0,"-2"1"-152"0,-3 7-75 16,3-6-28-16,-3 6 23 0,6 3-19 0,-4 7 1 0,-1 1-31 16,2 4 6-16,-2 6-19 0,-1 4-9 0,0 2-33 15,0 1-13-15,0 6-1 0,0-1-6 0,0 2-16 16,0 0-23-16,0 0-28 0,2 0-7 0,-2-2-9 15,1 1-18-15,0 0-5 0,-1-5-15 0,0-2-1 16,1-1-10-16,1 1 2 0,-2-2-7 0,1-5 0 16,-1-1-21-16,0-1-68 0,1-1-38 0,-1-3-34 15,3-2-23-15,-2-2-2 0,0 0-37 0,3-2-61 16,-1-3-79-16,2 0-76 0,-5-5-463 0,11 3-442 16</inkml:trace>
  <inkml:trace contextRef="#ctx0" brushRef="#br0" timeOffset="-132585.22">19170 12716 456 0,'0'0'409'0,"0"0"-106"0,0 0-27 0,-12 2-49 16,12-2-10-16,0 0-3 0,-4 5-5 0,4-5-37 16,0 0 15-16,1 8-21 0,-1-8 0 0,11 6-26 15,-2-4-3-15,2-1-12 0,-11-1-25 0,23 3-12 16,-10-5-12-16,1 1-13 0,-2-1-11 0,-1-2-9 15,4 0 1-15,-3-1-12 0,1-4-3 0,-4 2-9 16,0-4-5-16,-3 2-10 0,0-2-3 0,-5 0-12 16,-1 1 8-16,-1-3-9 0,-6 3 4 0,-2-1-12 15,-3 4 9-15,-3-1-3 0,-2 5 8 0,-3 2-8 16,-2 2 16-16,0 1 8 0,-1 6 12 0,-1 0 17 16,2 2 11-16,3 0-1 0,0 5 5 0,5-1-1 15,-1 3 1-15,4-1-11 0,4 2-2 0,-1-2-4 16,7 1-3-16,0 0-4 0,2 1-10 0,3-2 6 0,2 0-7 15,0-1 4-15,5-1-6 0,1 0-1 16,-1-1-46-16,0-5-21 0,3-1-26 0,0-1-8 16,0-2-15-16,-1-3-1 0,2-2 5 0,1-3-6 0,0-2-8 15,2-4-7-15,0-4-12 0,1-3 19 0,3 1 16 16,-2-3 17-16,1-2 13 0,1 2 3 0,-1 2 16 16,1 2-4-16,-5 2 7 0,1 3 10 0,-3 3 6 15,0 4 34-15,-1 1 0 0,0 3 18 0,-1 2 7 16,0 2 19-16,-2 4-3 0,0 0-1 0,-2 4-4 15,-2 1 0-15,0-1-4 0,-2 2-6 0,-1 1-3 16,-2 0-19-16,0 0 15 0,-2-2-19 0,-2 0 17 16,-3 1-3-16,1-2 1 0,-2-2-4 0,-3-1-1 15,1-2-2-15,2 0-5 0,-3-3 4 0,0-2-4 16,9-3 0-16,-13 1-13 0,13-1 18 0,-10-3-5 16,10 3 0-16,-3-10-3 0,5 3-6 0,1-1 2 15,5-4-5-15,2-1 0 0,6-1-18 0,-1 0-34 16,7-3 15-16,-1 1-11 0,4-1 19 0,-2 2-10 15,1 1 20-15,3 0-13 0,-3 0 20 0,-2 5-15 16,0-1 14-16,-2 2-11 0,-2 0 14 0,-1 2-12 16,-3 1 12-16,0-1-13 0,-3 3 18 0,-2-1-17 15,3 2 20-15,-12 2-11 0,15-1 14 0,-15 1-12 0,14 1 24 16,-14-1-5-16,9 4 28 0,-9-4-7 0,5 9 11 16,-5-9-11-16,4 9 26 0,-4-2-25 0,0 0 12 15,-1 0-16-15,-2 0 10 0,1 0-3 16,-2 0-3-16,1 2-4 0,-1-2-2 0,-1 1-10 0,1-4 4 15,1 2-2-15,3-6 0 0,-7 10 0 0,7-10 16 16,-5 7 38-16,5-7 40 0,-2 5 3 16,2-5-26-16,0 0-19 0,0 0-17 0,0 0-11 0,5-4-10 15,1-1-7-15,4 1-7 0,2-4-6 0,2 1-14 16,0-1-12-16,1-2 0 0,3-1-2 0,1 2 3 16,-3-2-1-16,1 3 5 0,-2-2-3 0,-1 3 3 15,-3-1-1-15,1 2-1 0,-2 2-6 0,-3 0 3 16,-7 4 2-16,12-2 3 0,-12 2 2 0,0 0 1 15,6 6 1-15,-6-6 1 0,0 11 1 0,0-3 1 0,0-1 0 16,2 3 3-16,0-1 2 0,1 3 1 16,3-1 1-16,1 1 4 0,3 0 1 0,1-1 3 15,2 1-2-15,1-2 4 0,0-2-4 0,0-2 4 16,-1 1-6-16,2-3 6 0,-2-3-18 0,-1-1 16 0,-1-1 1 16,-1-3-3-16,-1-2 0 0,0 0-1 0,-2-2-2 15,-5-3 0-15,1-2-7 0,-2 0-6 0,-2-1-47 16,-2-1-48-16,-2-2-19 0,0 2-44 0,-4 1-33 15,0-1-43-15,-1 1-15 0,0 3-77 0,-1 0-11 16,1 0-72-16,0 2-236 0,5 0-161 0</inkml:trace>
  <inkml:trace contextRef="#ctx0" brushRef="#br0" timeOffset="-132371.22">20322 12604 154 0,'17'8'438'16,"1"2"-69"-16,-2 2-26 0,1 0-41 0,-2 1-29 15,-2 1-48-15,0 2-19 0,0-2-23 0,-4-1-32 16,-3 2-22-16,-1-2-22 0,-1-2 1 0,-3 1 2 15,-2-3 9-15,0 0 2 0,-2-2 18 0,1-1 15 16,2-6-5-16,-3 7-13 0,3-7-18 0,0 0-20 0,0 0-20 16,3-4-20-16,4-4-11 0,2 0-11 15,3-3-10-15,4-1-4 0,0-1-3 0,7-3-10 16,0 2-1-16,0 0-3 0,-1 2-8 0,-1 1-35 16,-2 2-19-16,1 1-41 0,-4 3-39 0,-2 2-50 0,-1 1-29 15,-13 2-62-15,17 3-125 0,-17-3-137 0,6 7-247 16,-6-7-308-16</inkml:trace>
  <inkml:trace contextRef="#ctx0" brushRef="#br0" timeOffset="-127111">11320 14790 484 0,'-13'-4'452'0,"3"-1"-59"0,-4 0-66 15,2-1-22-15,2-1-24 0,-2 0-76 0,1 1-31 0,2-1-42 16,2 2-6-16,-1-1-34 0,0 1-8 0,3 1-31 16,5 4 0-16,-10-7-26 0,10 7-3 15,0 0-89-15,0-8-31 0,0 8-49 0,0 0-108 0,17 3-94 16,-10-1-386-16,2 1-239 0</inkml:trace>
  <inkml:trace contextRef="#ctx0" brushRef="#br0" timeOffset="-119032.4">10581 15772 157 0,'-11'-3'378'0,"2"-1"-32"0,1 2-50 0,-2 0-49 15,4-2-37-15,6 4-13 0,-12-6-32 0,12 6-27 0,-11-5-23 16,11 5-23-16,-8-5-27 0,8 5-15 15,-4-4-6-15,4 4 5 0,0 0-4 0,5-7 1 0,-5 7-7 16,13-4 12-16,-13 4-10 0,18-5 8 0,-4 3 11 16,0 1-5-16,5-2-5 0,2 2-5 0,2 0 5 15,5-2-4-15,1 2-7 0,1 0 14 16,2-1-23-16,5 1 12 0,1 0-20 0,4 0-10 0,7-1 5 16,-1 1-7-16,5-2 2 0,-1 0 2 0,3-1-4 15,1-1 0-15,2-1-7 0,-1-1 6 0,10-3 2 16,-1 0 14-16,-1-1-17 0,2-1 21 0,-2-2-4 15,3 0 16-15,-2 0-23 0,3-2 18 0,-2 2-22 16,-1-2 18-16,4 1-20 0,-3-1 12 0,-1 0-20 16,1 1 15-16,-1-1-8 0,-2-1 10 0,0 0-14 15,2-1 16-15,0-1-15 0,-1 1 14 0,1-1 5 16,2-2 6-16,-1 1-3 0,-1 0-2 0,3-2 10 16,-1 2 3-16,-2-2 1 0,1 3-5 0,-1-3 1 15,-2 3-10-15,4-1 0 0,-2 0-9 0,-1 1 0 16,-1 1-3-16,-2 0-2 0,0 0-9 0,-2 0 7 15,0 0-4-15,-2 0 2 0,-1-1-16 0,1-2 16 16,-4 1-5-16,0-1 1 0,0-3-2 0,1-1 2 16,-2 0-5-16,0-1 1 0,2-1 0 0,-1 0 5 15,-2 0-11-15,-1 0 15 0,0-1-2 0,-2 1 2 0,1-1-2 16,-4 2 0-16,-7 3-2 0,1-2-2 0,-3 2-5 16,3-1 7-16,-1 0-5 0,-3-3 3 0,2 2-3 15,6-5 6-15,-6 5-7 0,-2-3 8 0,6-1-7 16,2-2 2-16,-1 0-3 0,-2 0 7 0,4 0-12 15,-2-1 9-15,1 3-4 0,-2-3 9 0,-5 7 0 16,-1-3 21-16,1 3 2 0,-2-1-2 0,0 0 3 16,1 2-11-16,-2-3 0 0,1 3-6 0,-2-1-3 15,-1-2-2-15,0 2-2 0,0-1-2 0,4-2 2 16,-3 2-4-16,0-3-1 0,2 1-1 0,6-4-1 16,-7 4-14-16,1 1 15 0,2-1-9 0,0 1 14 15,-3 0-8-15,2 1 12 0,1 0-8 0,-2 1 6 16,2 0-9-16,-4 3 8 0,0-3-8 0,2 3 8 15,-3-2 1-15,1 0-6 0,-1 2 2 0,1-1-1 16,-2 0 2-16,1 1-4 0,-2 0-1 0,0 1 5 16,-1 0-3-16,2-1-1 0,-2 2-1 0,-1-2 3 15,0 2-6-15,-5 3 5 0,-1-1-4 0,1 0-1 16,1 1 3-16,-3-1-1 0,-2 3-2 0,0-2-2 0,0 0 1 16,-1 2 2-16,0 3-13 0,-3-3 13 15,3 0 8-15,-5 4-7 0,2-1-2 0,-2-2 0 0,0 5 3 16,-2-1-3-16,0 1 1 0,-1-1 1 0,0 2-1 15,-1-2 0-15,0 4 1 0,0-2-6 0,-3 3 5 16,2-1 1-16,-1-1-1 0,0 2-21 0,-2 1-56 16,0 1-20-16,-5 3-33 0,9-8-34 0,-9 8-61 15,8-5 27-15,-8 5-11 0,0 0-35 0,0 0-39 16,0 0-119-16,-4 12-480 0,-2-7-439 0</inkml:trace>
  <inkml:trace contextRef="#ctx0" brushRef="#br0" timeOffset="-117445.99">13967 14193 411 0,'0'0'403'0,"0"-12"-62"16,0 12-50-16,0-11-20 0,0 11-37 0,0-8-46 0,0 8-32 15,1-7-50-15,-1 7-29 0,0 0-13 16,0 0-19-16,0 0-5 0,0 0-9 0,0 0 6 16,0 0-3-16,0 0-5 0,0 7 4 0,0-7-3 15,1 11 31-15,-1-11-22 0,0 14 24 0,2-8-22 16,-2 1 7-16,1 0-28 0,-1-7 16 0,1 13-16 16,-1-5 9-16,0-8-21 0,1 9 21 0,-1-9-17 0,2 11 51 15,-2-11 20-15,1 7 38 0,-1-7 15 0,0 0-27 16,0 0-21-16,0 0-10 0,0 0-21 0,0 0-8 15,0 0-14-15,-4-5-2 0,4 5-8 0,-1-14-4 16,1 7-8-16,-1-2-1 0,1 1-5 0,0-2 2 16,0 3-4-16,0-1 1 0,0 1-9 0,0 7 2 15,1-12-10-15,-1 12-1 0,0-10-5 0,0 10 8 16,0 0-1-16,0 0 6 0,0 0-5 0,0 0 6 16,0 0-4-16,5 8 6 0,-2-1-6 0,-2 0 6 15,1 0-2-15,1 1 5 0,0 1-4 0,-1-1 5 16,2 0-6-16,0 1 7 0,-2-3-5 0,1 1 9 15,-3-7-2-15,4 10 10 0,-4-10 28 0,4 8 22 16,-4-8-18-16,0 0-4 0,0 0-12 0,0 0-2 16,0 0-11-16,0 0 0 0,5-6-8 0,-5 6 5 15,0-13-14-15,0 6 10 0,0-3-11 0,0 1 9 16,-2-4-13-16,1 4 5 0,1-2-4 0,0 4 6 0,-1-2-5 16,1 2 2-16,0 7-12 0,0-11 0 15,0 11 1-15,0 0 2 0,-3-5-8 0,3 5 14 0,-1 7-3 16,1-7 3-16,-3 12-2 0,2-4 4 0,1 2-3 15,0 1 2-15,0 0 1 0,0 2 3 16,0-2-3-16,1 2-1 0,1 0 4 0,-2 0 2 0,0-2-2 16,0 1 6-16,0 0-3 0,0-3 2 0,0 0-1 15,-2-1 1-15,2-1 3 0,0 1 6 0,0-8 8 16,-1 9-3-16,1-9-6 0,-1 8 1 0,1-8-7 16,0 0-2-16,0 0-10 0,-3-8 9 0,3 8-7 15,1-11 3-15,1 1-7 0,-1-1 2 0,2-2-19 16,-1-2 11-16,0-2-6 0,0 3 7 0,1 1-5 15,-1 1 8-15,0 1-6 0,0 0-1 0,-2 1-6 16,3 6 2-16,-3 4-2 0,3-7 5 0,-3 7 1 16,0 0 3-16,3 8-1 0,-2 0 5 0,-1 3-2 15,0 4 3-15,3 3-1 0,-2 1 5 0,0 2 4 16,3 2 3-16,-4 4 8 0,4-1 2 0,-3 0 3 16,2 1 2-16,0-1-9 0,-2 1 8 0,0-1-8 15,2 0 6-15,-1-1-10 0,-1-3 4 0,-1-3-6 16,2-1-9-16,-1-1 7 0,-1-3 15 0,0-3-10 15,1 2 17-15,-1-2-5 0,0-4 41 0,1-2-25 0,-1-5 0 16,2 8-13-16,-2-8 7 0,0 0-26 0,4-6-10 16,-2-1-21-16,-1-5-25 0,2 2-22 0,-2-6-1 15,2-2-2-15,-2-1 8 0,-1-1-16 0,1-4 0 16,1-3 19-16,-2 2 0 0,0 0 20 0,-2 1-2 16,2 3 18-16,0 2-14 0,0 1 27 15,0 3-13-15,0 3 13 0,-1 0-17 0,1 2 19 0,0 2-15 16,0 8 20-16,0-10-15 0,0 10 20 0,0 0-17 15,0 0 22-15,0 0-17 0,0 8 15 0,-1-1-7 16,0 2 15-16,-1-1 0 0,2 2-6 0,-1 1 2 16,1 1-8-16,0-1 9 0,0-1-4 0,0 1 3 15,0-1-1-15,0 0 1 0,0-2-2 0,0-1-9 16,0-7 16-16,0 13 26 0,0-13 57 0,0 11 22 16,0-11-20-16,0 0-16 0,-1 7-15 0,1-7-12 15,0 0-7-15,-2-6-12 0,2 6-6 0,-1-12-7 16,1 5-4-16,-1-3-17 0,0 0-34 0,-2-1-15 15,2-1-43-15,-2 0-6 0,2 0-16 0,-2 1-4 0,0 0-73 16,0 2-70-16,-1-1-59 0,-1 3-74 0,1-1-455 16,-1 4-396-16</inkml:trace>
  <inkml:trace contextRef="#ctx0" brushRef="#br0" timeOffset="-116562.7">13725 14210 64 0,'0'0'457'0,"-19"-1"-105"0,19 1-108 15,-13 1-44-15,13-1-59 0,-10 1 16 0,10-1 3 16,0 0 16-16,-4 6-9 0,4-6-12 0,17 7-28 15,-3-3-23-15,10 1-12 0,2-2-14 0,8 1 14 16,3-1-22-16,3 1 10 0,1-3-28 0,1 1 7 16,-1-1-19-16,1-2 12 0,-1-1-21 0,-1 1 19 15,-2 0-21-15,-2-2 12 0,-7 2-20 0,-3-1 23 16,-4 1 4-16,-3-1 21 0,0 1-20 0,-5 1 10 16,-3 0-27-16,-11 0 5 0,16-1-17 0,-16 1 7 0,0 0-20 15,0 0 9-15,-19 2-12 0,4 1 12 16,-4-1-13-16,-1-1 13 0,-7 2-18 0,-3-2 22 15,0 2-5-15,-6-1 14 0,-1-1-5 0,3 1 9 0,2 0-12 16,2-1 3-16,2 1-12 0,1-1 5 0,7 0-10 16,-2 1 5-16,7-1-4 0,-2-1 7 15,4 1-10-15,1-1 7 0,12 0-6 0,-12 0 5 0,12 0-9 16,0 0 5-16,14-4-8 0,0 2 7 0,4-1-7 16,9 0 7-16,0 1-20 0,2-2 24 0,6 0-10 15,-1 0 4-15,-1 0-4 0,1 1 2 0,-6-1-10 16,-3 1 11-16,-2 1-6 0,-6 0 2 0,2-1-9 15,-6 2 10-15,2 0-8 0,-4 1 10 0,-11 0 1 16,12 0 4-16,-12 0-9 0,0 0 5 0,0 0-2 16,-5 7 6-16,5-7-7 0,-18 5 12 0,3-2 4 15,1 0 10-15,-4-1-4 0,1 1 5 0,-2 1 2 16,1-1 2-16,-2 0-5 0,-1 0-3 0,2-1-4 16,0 0-4-16,4 1-2 0,-1-2 4 0,5 2-5 0,-2-2 1 15,3 0-3-15,10-1 2 0,-18 3-3 0,18-3-1 16,0 0-5-16,0 0 1 0,0 0-2 15,0 0 3-15,13-7-5 0,-2 5-3 0,3-1 3 16,-1-1 0-16,5 1 0 0,-1-3 2 0,-1 2-4 16,1 0-5-16,-2 0 7 0,-1 0 3 0,-1 1-6 15,-3 0 6-15,-1 0-7 0,1 1 5 0,-10 2-5 16,11-2 3-16,-11 2-2 0,0 0 1 0,0 0 0 0,-17 2 3 16,7 0-4-16,-4 2 3 0,-4-1 0 0,-1 1 0 15,-2 0-5-15,-3 1 6 0,-2-1-3 16,1 1 5-16,-2 0-4 0,3-1 4 0,-2 0-3 15,2 1-1-15,0-1 2 0,6-1 3 0,0 0-2 0,1 0 1 16,3 0-1-16,4-2 1 0,10-1-6 0,-15 3 1 16,15-3-9-16,0 0 0 0,0 0-11 0,16-3-3 15,-2 0-20-15,4 0 6 0,1-1-3 0,7 1 9 16,1-1 0-16,1-2 10 0,2 0-3 0,1 0 14 16,1 0-6-16,-5 0 10 15,-3 2-5-15,-2-2 9 0,-3 2 0 0,0 0 9 0,-5 1-6 0,0 0 7 16,-2 1-7-16,-4-1 4 0,-8 3-6 0,11-2 7 15,-11 2 1-15,0 0 0 0,0 0-7 0,0 0-22 16,-11 6-80-16,11-6-24 0,-13 7-59 0,6-2-62 16,-2 1-56-16,3 0-89 0,2-1-434 0,-1 1-364 15</inkml:trace>
  <inkml:trace contextRef="#ctx0" brushRef="#br0" timeOffset="-114689.99">17226 13349 61 0,'-5'-9'118'16,"5"9"-11"-16,-6-9 9 0,6 9-18 0,-3-9-8 16,3 9-2-16,-7-9-6 0,7 9-3 0,-6-9 1 15,2 3 4-15,4 6-1 0,-4-10 0 0,2 4 5 16,2 6-5-16,-4-9-14 0,4 9 28 0,-3-10-17 15,3 10 21-15,-2-10-21 0,2 10 31 0,-3-8-21 16,3 8-5-16,-1-6-41 0,1 6 7 0,0 0-31 16,0 0 19-16,0 0-25 0,0 0 38 0,0 0 8 15,8 8 13-15,-6 2-5 0,3 1-3 0,-2-1-8 16,1 5 18-16,1 0 8 0,0 1-14 0,1 0 3 16,-2 1-26-16,3-1 2 0,0 2-20 0,-2-1 9 15,0 0-9-15,0-2 16 0,1 1-20 0,-1-1 14 0,0-2-19 16,0 1 18-16,-1-3-19 0,0 1 13 15,-2-3-19-15,2 0 14 0,-1-1 1 0,-1 0 49 16,1-1 27-16,-2-3 46 0,-1-4 17 0,6 9-28 0,-6-9-25 16,0 0-24-16,11 2-17 0,-11-2-19 0,9-6-4 15,-6 0-13-15,5 0 0 0,-3-2-15 16,0-3 6-16,4-2-11 0,-1 0 2 0,-2-2-11 16,2-2 7-16,0-1-8 0,2-1 6 0,-4 0-10 0,3 0 7 15,-1-2-9-15,1 2 5 0,-3 1-2 0,-1 2 5 16,-1 1-6-16,1 3 3 0,-1 0-8 0,2 1-81 15,-4 3-85-15,0 2-2 0,-2 6-26 0,3-9-7 16,-3 9-8-16,0 0-34 0,0 0-15 0,0 0-51 16,-4 6-4-16,4-6-53 0,-3 11-277 0,3-11-156 15</inkml:trace>
  <inkml:trace contextRef="#ctx0" brushRef="#br0" timeOffset="-114300.95">17594 13328 47 0,'9'-6'400'0,"-2"2"-72"0,0 0-28 15,-1-1 3-15,-6 5-49 0,10-6-14 0,-10 6-48 16,8-6-40-16,-8 6-40 0,0 0-23 0,0 0-21 16,0 0-10-16,5 4-7 0,-10 2-2 0,1 2 15 0,-1 1-12 15,-2 0-6-15,0 2-11 0,2 0 1 16,0 2-15-16,0-1 8 0,-2 1-10 0,5-1 4 16,-1-1-11-16,2 1 6 0,0-1-3 0,2 0 18 15,0 0 2-15,2-1 20 0,1-1-3 0,1-2 16 0,0 2-18 16,1-4 16-16,1-1-26 0,0 0 11 0,-7-4-22 15,18 2 10-15,-18-2-21 0,19-3 13 0,-11-1-20 16,0-1 14-16,1-2-20 0,1-2 13 0,-2-2-18 16,1 0 14-16,-1-1-22 0,-1 0 17 0,-1 0-14 15,1 0 17-15,-2 2 13 0,2 1 36 0,-3 1-16 16,0 1-15-16,-1 1-14 0,-3 6-1 16,6-5-8-16,-6 5 11 0,0 0-5 0,0 0 4 0,10 7 0 15,-5-3 8-15,-5 3-6 0,4 1 4 0,-1 1-6 16,1 1 4-16,-2 2-4 0,3 1 4 0,-1 0-2 15,2 3-2-15,-2-1 2 0,0 0-47 0,-1 0-68 16,-1 0-23-16,2-1-38 0,-3-1-33 0,1-1-43 16,0 1-46-16,-2-3-27 0,0 0-16 0,0-2-35 15,0-8-284-15,-2 11-153 0</inkml:trace>
  <inkml:trace contextRef="#ctx0" brushRef="#br0" timeOffset="-113956.95">17963 13391 420 0,'9'-5'423'0,"0"2"-74"0,1 2-23 0,3 1-33 15,0 2-42-15,3 3-22 0,1 3-43 0,1 3-12 16,-1 2-23-16,-1 3-13 0,2 2-38 0,-1 1-2 15,-4-2-33-15,-1 0 5 0,-3 1-13 0,0 0 0 16,-5-3-18-16,2-1-2 0,-2 0 4 16,-1-2 1-16,-1-2 38 0,1-1 65 0,-2-2 52 0,-1-7-25 15,0 11-32-15,0-11-21 0,0 0-17 0,0 0-21 16,0 0-13-16,0 0-14 0,-2-6-9 0,2-2-21 16,2-1 6-16,2-3-8 0,1 0-2 0,0-2-18 15,4-2 9-15,0 0-15 0,3 0-2 0,0 1-56 16,1 2-27-16,0 1-37 0,0 2-31 0,1 2-50 15,0 3-26-15,2 2-38 0,-3 1-99 0,0 2-63 0,4 3-478 16,-2 2-477-16</inkml:trace>
  <inkml:trace contextRef="#ctx0" brushRef="#br0" timeOffset="-113112.89">18570 14759 370 0,'3'-11'434'15,"1"0"-82"-15,-2 0-54 0,2 1-64 0,0 1-18 0,0 0-4 16,-2 2-34-16,2 1-47 0,-1 0-31 0,-3 6-19 16,7-6-5-16,-7 6 20 0,0 0-15 0,18 4-28 15,-11 3 21-15,0 4 9 0,0 2 31 0,0 6-12 16,2 3 9-16,-5 3-19 0,1 4 15 0,-1 2-12 16,2 3 10-16,-4-1-10 0,-1 2 0 0,-1-1-10 15,0 0-5-15,-1 1-3 0,-1-1-6 16,-3-2-7-16,3 0-26 0,-2-7 15 0,0 0 5 0,0-4-5 15,-1 0 1-15,1-5 30 0,0-2 9 0,-2-3-11 16,1-3-16-16,-3-2-11 0,2-3-8 0,6-3-11 16,-15-3-8-16,6-2 11 0,0-4-20 0,-3-2-6 15,3-6-2-15,0-3-4 0,0-3-4 0,4-5-13 16,0-3-29-16,1-2 14 0,4-2-18 0,0-3 16 16,4-5-19-16,1 0 7 0,5 0-2 0,2 0-9 0,1 2 4 15,3 1 2-15,1 4-8 0,2 4 14 0,0 2 1 16,2 2-1-16,-3 6-1 0,-2 3 2 15,1 5-3-15,-3 1-11 0,0 2-2 0,-1 4 2 16,-1 1-5-16,-1 1 10 0,-1 4 6 0,-10 1 6 16,15 5 8-16,-11-2 5 0,1 3-6 0,-3 3 13 15,-2 0-5-15,-2 2 9 0,0 2-3 0,-3 1 9 0,-1 2-7 16,1 0 7-16,-1 1-10 0,0 0 15 16,2-2-11-16,-1 2 11 0,2-1-13 0,0 1 16 0,2 0-9 15,2 0 10-15,3-1-9 0,0 1 9 0,5 1-6 16,3 0 5-16,2-2-6 0,2 4 9 0,2-1-14 15,-1 0 12-15,-2-3-11 0,-1 0 12 0,-1 0-14 16,-3-1 12-16,-1-1-7 0,-1-1 14 0,-4 0 9 16,-2-2 43-16,-2 1 12 0,-4-1-1 0,-1-1 2 15,-4 1 0-15,-2-2-13 0,-2 0-8 0,-4-1-8 16,1 0-10-16,-3-1-7 0,-1-1-1 0,3 0-11 16,-1-1-9-16,2 0-55 0,-1-2-48 15,2 1-47-15,3-1-22 0,0 0-31 0,12-3-57 0,-14 1-112 16,14-1-29-16,-9-4-128 0,9 4-278 0,4-11-322 15</inkml:trace>
  <inkml:trace contextRef="#ctx0" brushRef="#br0" timeOffset="-112932.89">19021 14930 566 0,'13'-6'498'0,"-1"2"-90"16,-1 2-19-16,-11 2 5 0,18 1-36 0,-8 3-14 16,-1 0-46-16,-1 4-26 0,1 1-46 0,-2 2-17 0,1 2-50 15,-1 3-12-15,1 2-32 0,-3 1-21 0,2 1-16 16,-3 1-16-16,1 1-6 0,-1-1-31 0,-2 1-85 15,3-3-41-15,-5-1-70 0,3 0-38 0,-2-1-40 16,-1-4-56-16,0-1-24 0,3 0-20 0,-3-3 52 16,0-9-77-16,2 10-342 0,-2-10-221 0</inkml:trace>
  <inkml:trace contextRef="#ctx0" brushRef="#br0" timeOffset="-112812.77">19173 14845 113 0,'2'-26'401'0,"-2"6"-66"0,0 0-98 0,1 2-23 15,-1 0-76-15,0 5-25 0,1 1-116 0,-1-1-7 16,1 6-96-16,1 0-48 0,0 1-252 0,-2 6 135 16</inkml:trace>
  <inkml:trace contextRef="#ctx0" brushRef="#br0" timeOffset="-112450.77">19526 14741 119 0,'0'0'384'0,"9"-3"-38"0,-9 3-62 15,0 0-20-15,4-5-59 0,-4 5 10 16,0 0-22-16,-13 0-8 0,13 0-11 0,-19 6-24 16,6 2 0-16,0 1-32 0,-3 3 18 0,0 1-30 0,1 3 2 15,1-1-33-15,0 2 15 0,1 1-26 0,3 0 13 16,1 0-21-16,4-2 11 0,1-2-13 0,1 2 12 16,2-3-23-16,2-1 15 0,2-1-19 15,2-1 7-15,-1-1-12 0,4-2 0 0,2-2-8 0,0-1 1 16,-1-2-11-16,4-3-6 0,-3 0-37 0,3-4 11 15,2-1-17-15,-3-1 18 16,3-3-12-16,-3 0 9 0,2 0-7 0,-3-1 20 0,-2 0-9 0,2 3 49 16,-1-2 22-16,-3 4 19 0,1-1-21 0,-2 1-12 15,-6 6-16-15,10-5 2 0,-10 5-9 0,0 0 6 16,12 6-8-16,-6 1 4 0,-2 1-12 0,1 2 7 16,-2 2-4-16,2 2 4 0,-2 2-5 0,0 0 5 15,0 1-19-15,2 1-57 0,-4-1-60 16,2-1-43-16,-2 1-29 0,0-2-51 0,1-1-62 0,0-1-1 15,-2-1-64-15,3-1 2 0,-2-3-335 0,-1 0-208 0</inkml:trace>
  <inkml:trace contextRef="#ctx0" brushRef="#br0" timeOffset="-112208.77">19760 14949 82 0,'14'-14'448'0,"3"-1"-90"0,-1 2-41 0,2 4-73 0,0 0-4 15,1 6-29-15,-2 0-24 0,1 4 2 16,0 3-34-16,-3 1-6 0,0 3-32 0,2 2 3 0,-2 2-17 15,-3 2 20-15,-3-2-28 0,0 2 7 0,-3 0-26 16,-1-2 7-16,-5 1 5 0,1-2 30 0,-2-2-1 16,-1 1 4-16,-4-3-10 0,1-1 16 0,-2-1-12 15,-1-3 4-15,8-2-34 0,-13 0 0 0,4-3-32 16,4-2 7-16,-1-2-22 0,3-1 7 0,-1-3-25 16,3-2 9-16,4 2-20 0,1-4 9 0,1-1-16 15,4 0 16-15,2-1-31 0,3 2-20 0,1 0-34 16,2 2-28-16,0-1-54 0,1 5-22 0,1 0-44 15,0 2-27-15,-4 4-38 0,1 1-83 0,-2 2-37 16,1 1-466-16,-2 0-416 0</inkml:trace>
  <inkml:trace contextRef="#ctx0" brushRef="#br0" timeOffset="-111293.7">19903 14893 52 0,'-5'-5'465'16,"-3"3"-123"-16,8 2-46 0,-16-3-42 0,16 3-29 0,-17 3 1 15,7 0-45-15,0 1-4 0,2 2-13 16,0 1-39-16,-2 0-8 0,5 2-18 0,1 0 3 16,4 3-24-16,0 0 15 0,3 0-18 0,2 1 8 0,4 2-24 15,1-1 8-15,2 0-26 0,0 2 11 0,1-1-30 16,2-2 16-16,-2 0-24 0,-4-2 14 0,4 0-20 15,-4-1 13-15,0-1-24 0,-3-1 20 0,2 0-17 16,-2-1 20-16,-2-1-19 0,1-1 25 0,-5-5-7 16,3 8 19-16,-3-8-16 0,-3 6 11 0,3-6-16 15,-7 3 9-15,7-3-18 0,0 0 14 0,-12-1-20 16,12 1 16-16,-9-5-18 0,9 5 18 0,-9-9-24 16,7 3 2-16,0 0-42 0,2-2 14 0,0-1-12 15,0 0 29-15,2 0-19 0,-1 1 23 0,-1 0-16 16,1 1 27-16,-1 2-13 0,0 5 10 15,0-10-17-15,0 10 26 0,-2-7-4 0,2 7 22 0,-11-2-16 16,11 2 26-16,-15 5-22 0,7-1 17 0,1 0-22 16,-5 5 14-16,3-1-15 0,-2 3 12 0,1 1-73 15,-1 2-45-15,0 2-61 0,1 2-86 0,1 0-84 16,1 0-551-16,-1 0-441 0</inkml:trace>
  <inkml:trace contextRef="#ctx0" brushRef="#br0" timeOffset="-109124.8">14022 14271 124 0,'0'0'189'16,"0"0"-43"-16,0 0-20 0,0 0-22 0,0 0-7 15,0 0-2-15,0 0-14 0,0 0-4 0,0 0-10 16,0 0-11-16,0 0-12 0,0 0-9 0,0 0-9 16,0 0-10-16,0 0-6 0,0 0-2 0,0 0 16 15,0 0 38-15,0 0 4 0,0 0-3 0,-8 2-4 16,8-2-1-16,0 0-1 0,0 0-8 0,-1 7-4 15,1-7-8-15,0 0-9 0,0 0-2 0,0 0-4 16,0 8-2-16,0-8-1 0,0 0-1 0,0 0-1 16,0 0-1-16,0 0 3 0,0 0-1 0,0 0 2 15,0 0-2-15,0 0-1 0,0 0 5 0,0 0-10 0,0 0-2 16,0 0 2-16,10-1-2 0,-10 1-2 0,0 0 0 16,0 0-2-16,3-9-10 0,-3 9 2 0,0 0-3 15,0 0-2-15,0 0-5 0,0 0-2 0,-5-5 5 16,5 5-2-16,-8 4 1 0,8-4 4 0,-8 5 1 15,8-5 5-15,-10 6 14 0,10-6 12 0,-6 7-15 16,6-7 14-16,-7 9-17 0,7-9 20 0,-4 7-31 16,4-7 28-16,-1 5-17 0,1-5 23 0,1 7-11 15,-1-7 16-15,5 4-23 0,-5-4 12 0,11 3-14 16,-11-3 21-16,11 0-18 0,-11 0 10 0,14-1-16 16,-14 1 12-16,14-4-16 0,-14 4 23 0,10-6-8 15,-3 1 8-15,-2 0 0 0,1 1 6 0,-2-3-11 16,1 0 5-16,-1 2-11 0,-3-2 3 0,2 0-10 15,-3 7 11-15,3-12-2 0,-3 12-2 0,0-9-8 16,0 9-2-16,-6-8-2 0,6 8-10 0,-7-3 2 16,7 3 4-16,-14 1-3 0,14-1 4 0,-12 5-7 15,4-1 9-15,1 0-4 0,1 1 5 0,-1 1-3 16,3 0 7-16,-1 0-1 0,1 1 0 0,-1-1 1 16,3 0-5-16,-1 0 7 0,3-6 2 0,0 12 3 0,0-12-5 15,0 10 10-15,0-10-9 0,9 7 15 16,-9-7-8-16,10 5 8 0,-10-5-5 0,12 1 7 15,-12-1-16-15,15-3 11 0,-7 0-14 0,1-1 9 0,0 0-9 16,-3-3 4-16,0 2-12 0,2-2 16 0,-4-2-9 16,2 1 1-16,-2-1-9 0,-1 1 8 0,-1-1-10 15,-2 2 9-15,0 7-25 0,0-13 21 0,-2 8-16 16,2 5 12-16,-8-7-9 0,8 7 8 0,-14-3-8 16,14 3 8-16,-14 3-8 0,14-3 10 0,-18 6-11 15,12-2 10-15,-1 1-6 0,-2 1 11 16,4-1-13-16,0 1 16 0,0 1-5 0,1-2 13 0,0 0-13 15,3 1 8-15,-4-1-3 0,5-5 12 0,0 9-4 16,0-9 13-16,5 7-11 0,-5-7 13 16,6 3-12-16,-6-3 17 0,0 0-14 0,16-1 9 0,-16 1-12 15,12-5 15-15,-6 0-21 0,0 1 15 0,-1-2-19 16,-1-1 13-16,2 0-17 0,-3 2 15 0,-2-2-23 16,2 1-7-16,-3 6-92 0,-2-7-79 0,2 7-76 15,0 0-113-15,-15 2-419 0,7 2-312 0</inkml:trace>
  <inkml:trace contextRef="#ctx0" brushRef="#br0" timeOffset="-105649.08">13723 14360 218 0,'-14'0'285'0,"2"0"-17"0,12 0-71 16,-20-1-11-16,20 1 0 0,-17-1 13 0,17 1-37 16,-18-3 12-16,18 3-40 0,-11-1-8 0,11 1-40 15,-12-3-8-15,12 3-34 0,0 0-1 0,-10-1-28 16,10 1 14-16,0 0-20 0,9-3 13 0,-9 3-20 15,22-3 11-15,-7 1-11 0,7 1 10 0,5-3-14 16,1 0 13-16,7 1-11 0,4-3 8 0,7 0-14 0,0 0 14 16,1-1-12-16,2-1 13 0,-1 1-19 0,3 0 17 15,-3-1-11-15,0 1 11 0,0-1-13 0,-1 1 17 16,-2 1-22-16,-8 1 19 0,0 0-14 16,-4 3 15-16,-6-1-11 0,-3 1 4 0,-2 0-1 0,-3 0-3 15,-4 2-4-15,-1 0 6 0,-1 0 0 0,-4 2 1 16,-9-2-4-16,14 5 28 0,-14-5-11 0,1 6 11 15,-1-6-12-15,-9 9 12 0,-1-3-6 0,-1-1 4 16,-6 1-6-16,0 0 5 0,-4 1-7 0,-2 1 4 16,-7-1-10-16,0 2-1 0,-5 0 3 0,-5-1-1 15,-2 3-2-15,-5-1 2 0,0-1 9 0,-4 2-11 16,0-1-1-16,-1 2-3 0,-1-2 7 0,-1 0-3 16,3 1 0-16,4-2 6 0,-1-1 0 0,5 0-3 15,1-1 3-15,6-1-5 0,4 0 4 0,4-2-5 16,5-1-8-16,0 1 4 15,2-2 4-15,5 1 18 0,-1-1 15 0,6-1-3 0,-2 0-5 0,13-1-16 16,-15-1-5-16,15 1-4 0,0 0-3 0,1-7-2 16,5 1-4-16,6 2 2 0,3 0-3 0,7-4-10 0,3 1 12 15,7-1-7-15,7-2 8 0,4-1-13 16,4 1 11-16,3-2-16 0,5 1 20 0,7-2-12 16,-6 3 14-16,6-2-10 0,-5 2 14 0,-1 2-14 15,1 1 12-15,-3-2-14 0,1 2 11 0,1 0-4 0,-2 1 4 16,-4 1-9-16,-2 0 10 0,-8 1-9 0,-4 1 10 15,-7 0-8-15,-2 0 7 0,-5 2-8 0,-4-2 12 16,-1 2-18-16,-1 0 18 0,-3-1-13 0,-13 2 7 16,15-1-8-16,-15 1 12 0,0 0-12 0,0 0 10 15,-8 4-10-15,-1-3 10 0,-6 3-12 16,-2 0 13-16,-6-1-12 0,-1 2 15 0,-4 0-18 0,-5 1 15 16,-4 0-11-16,-7 3 10 0,-3-1-5 0,-2 0 8 15,-4 1-12-15,-4-1 7 0,-8 2-5 0,-4 1 5 16,3-1-8-16,-3 1 13 0,4-1-1 0,7-1-4 15,4-2-2-15,1 3 0 0,-1-4 2 0,7 2-3 16,1-1 0-16,7-2 6 0,5-1-7 0,1 1 2 16,6-1 3-16,1-2-2 0,7 0 4 15,0 1 2-15,1-2 5 0,5 1-5 0,1-1-1 0,1 0-3 16,11-1-3-16,-15 0-3 0,15 0-1 0,0 0 2 16,5-5-2-16,3 2-8 0,2-1 14 0,6-2-13 15,5-1 14-15,3 2-13 0,8-5 13 0,10 2-12 16,2-3 14-16,2 0-15 0,6 0 10 0,3 0-10 0,9-2 13 15,3 1-12-15,-2 2 7 0,-9 0-5 0,0 1 9 16,-1 1-12-16,0 1 17 0,-4 0-14 16,-1 2 14-16,-3 0-13 0,-6 0 15 0,-5 1-11 0,0 1 8 15,-7 0-11-15,-3 1 14 0,-3 0-17 0,-5-1 13 16,1 2-6-16,-5 0 6 0,1-2-8 0,-5 2 10 16,-10 1-18-16,20-1 15 0,-20 1-10 0,0 0 8 15,0 0-8-15,0 0 12 0,0 0-12 0,-4 5 17 16,-9-3-23-16,1 1 22 0,-4 1-15 0,-3-1 12 15,-6 3-16-15,-1 0 14 0,-8-1-11 16,-1 2 9-16,-9 0-10 0,-2 1 14 0,-5 1-21 16,0-1 9-16,-2 1-12 0,0-1 13 0,1-1-16 0,0 1 21 15,5-3-10-15,2 2 13 0,7-3-4 0,5 0 4 16,5-1-5-16,3 0-1 0,4 0 5 0,0 0-1 16,3-2 0-16,3 2 16 0,2-2 0 0,0 0-7 15,3 0 0-15,0 0-7 0,10-1-1 0,-18 1-3 16,18-1-5-16,-13 2 4 0,13-2-7 0,0 0 3 0,-14 1 4 15,14-1-3-15,0 0-6 0,0 0 10 0,10-5-11 16,-10 5 12-16,17-5-10 0,-2 2 11 16,2-3-15-16,6 0 17 0,5-1-17 0,4-2 16 15,3 0-17-15,7-2 17 0,4 0-6 0,0 0 3 0,1-1-7 16,0 3 12-16,2-2-14 0,-3 1 15 16,1 0-12-16,-2 1 13 0,0 0-10 0,-3 2 8 15,-6 1-16-15,-1 0 14 0,-9 3-10 0,2-2 15 0,-2 1-16 16,-6 0 14-16,-2 2-11 0,0 0 11 0,-4 1-21 15,-1-2 16-15,-2 2-11 0,-11 1 10 0,0 0-10 16,12 1 13-16,-12-1-15 0,-9 4 18 0,0-2-11 16,-3 3 12-16,-4 0-16 0,-2 0 14 0,-5-1-14 15,-3 3 13-15,-6 1-17 0,-1-1 15 0,-7 3-9 16,-3-2 8-16,-1 2-10 0,-3-1 6 0,1 2-6 16,-2-2 6-16,-1 1-10 0,-1 0 10 0,-1-1-8 15,4 2 10-15,-2-2 0 0,6 0-2 0,-2-1 1 16,9-3 1-16,3 1-3 0,1 1 2 0,7-3 1 15,-1 0 4-15,8-1-1 0,-1 1 1 0,5-1 2 16,0-2-3-16,1 1 1 0,4-1-1 0,-2 0 4 16,11-1-8-16,-16 3 6 0,16-3-2 0,-15 2-6 15,15-2-1-15,0 0-7 0,-12-1 11 0,12 1-22 16,0 0 20-16,0 0-8 0,0 0 8 0,2-7-8 0,-2 7 8 16,6-4-5-16,-6 4 5 0,12-5 0 0,-5 2 2 15,2 0-4-15,3 0 5 0,-1-1-8 0,5 1 9 16,1-3-9-16,1 2 14 0,4-1-13 0,2 1 9 15,2-3-8-15,-3 3 13 0,4-1-12 0,0 0 3 16,1-1-2-16,4 1 6 0,-3 0-10 0,-1-1 10 16,2 3-9-16,-4-2 7 0,1 2-4 0,1-1 6 15,-6-1-4-15,4 3 1 0,-6-2-21 0,-2 2 26 16,1-1-11-16,-1 1 11 0,-4-1-4 0,-2 1 4 16,0 1-5-16,0 0 6 0,-2-1-13 0,-10 2 9 15,15-1-8-15,-15 1 5 0,16-2-4 0,-16 2 4 16,10-1-5-16,-10 1 7 0,0 0-11 0,0 0 13 15,0 0-4-15,-4 4 2 0,-6-1-6 16,0-1 10-16,-4 2-10 0,-4 1 5 0,-1-2-5 0,-3 1 3 16,-2 0-2-16,-2 2 6 0,1-1-12 0,-1-1-17 15,0 2-12-15,1 0-11 0,1 0-19 0,1-1-46 16,2 1 13-16,-1 0-65 0,5 0 1 0,1 1-56 16,2-1-1-16,1 0-319 0,2 1-53 0</inkml:trace>
  <inkml:trace contextRef="#ctx0" brushRef="#br0" timeOffset="-103857.54">13640 14364 108 0,'0'0'303'15,"-9"-4"-87"-15,9 4 6 0,-8-4-35 0,8 4 23 16,-6-5-35-16,6 5 2 0,0 0-26 0,-7-4-9 16,7 4-37-16,0 0-8 0,0 0-39 0,-9-4 10 15,9 4-21-15,0 0 44 0,0 0-27 0,14-2-3 16,-14 2-16-16,26-1-2 0,-6 1-11 0,2-1 2 15,8 1-11-15,7-2 2 0,2 1-12 0,5-1 3 16,4 1-3-16,2 0 0 0,1 0-7 0,1 0 4 16,-2-2 3-16,0 2-6 0,3-2-6 0,-5 0-8 15,2-1 9-15,-4 0 6 0,-1-1-2 0,-8 0-6 16,-1 0-1-16,-4 1 5 0,-7-1-1 0,1 0 4 0,-8 1 8 16,-1 1-1-16,0 0 2 0,-5 0-9 0,-3 1 1 15,-9 2-6-15,6-6 3 0,-6 6-7 16,0 0 9-16,-13-2-7 0,2 3 0 0,-6 0-1 0,-2 1 2 15,-4 0 0-15,-3 2 4 0,-3-1-14 0,-7 1 12 16,2 2-3-16,-6-1 0 0,-5 1 0 0,-2 0-2 16,2 1 1-16,-5-1 7 0,3 3-9 0,-4-2 3 15,4 0-3-15,-3 1-2 0,1-1 3 0,3 3 0 16,-1-3 4-16,4 1-5 0,7-1 6 0,1-3-7 16,3 4 3-16,4-3 1 0,3-2-2 0,2 1 6 15,6-1-4-15,-1 1-1 0,5-2-1 0,-2 1 0 16,5-2 1-16,-2 1-1 0,3-1 5 0,9-1-5 15,-14 3 0-15,14-3 2 0,0 0-3 0,0 0 2 16,-10-3-3-16,10 3 7 0,10-4-4 0,2-1 6 16,3 0-2-16,3-1-4 0,6-1-1 0,6-3 3 15,2 1 0-15,9-3 1 0,3-1 1 0,1 1 4 16,2-1-5-16,3-1 5 0,1 3-2 0,-1-1 2 0,-3 1-5 16,2 2 3-16,-3 0-6 0,0 1 9 0,-4 1-8 15,-5 1 5-15,-2 2-3 0,-2 0 1 16,-5-2-3-16,-1 3 5 0,-3-1-7 0,-2 2 11 15,-3 0-16-15,-2-1 11 0,-4 2-5 0,0 0 3 0,-1-2-6 16,-2 2 7-16,2 0-6 0,-12 1 9 16,15-3-4-16,-15 3 1 0,13-1 1 0,-13 1 0 0,0 0-4 15,0 0 3-15,0 0-7 0,0 0 9 0,-15 6-6 16,4-2 9-16,-4-1-7 0,-2 0 2 0,-4 2-5 16,-2 1 6-16,-2 0-5 0,-4-1 5 0,-2 3-5 15,-3-2 5-15,-2 2-7 0,-5 1 6 0,0-2-16 16,-2 3 26-16,1-2 1 0,6-1 9 0,1 0-1 15,3-1 19-15,0 1-20 0,5-2 12 0,2-1-21 16,1 2 10-16,6-2-12 0,-1-1 7 0,2 1-18 16,2-2 14-16,2 2-15 0,1-2 14 0,2 0-10 15,0 0 14-15,10-2-14 0,-13 2 26 0,13-2-7 16,-13 3 18-16,13-3-22 0,0 0 13 0,0 0-18 16,0 0 18-16,8-6-24 0,1 2 15 0,4-1-14 0,1 2 23 15,1-2-21-15,6-1 20 0,2-1-21 16,1 1 21-16,-1-2-17 0,4 2 20 0,4-1-22 15,-2 0 13-15,-2 1-20 0,-2 1 16 0,1 1-19 16,-1-1 11-16,-3 2-11 0,-2 0 12 0,0 0-16 0,-4-1 16 16,1 2-15-16,-3 0 14 0,-1 1-16 0,-2-1 18 15,0 0-18-15,-11 2 16 0,19-2-11 16,-19 2 12-16,14-3-8 0,-14 3 13 0,12-2-17 0,-12 2 12 16,11-2-13-16,-11 2 9 0,0 0-15 0,14-1 18 15,-14 1-12-15,0 0 13 0,9-1-15 0,-9 1 12 16,0 0-14-16,0 0 16 0,10-2-17 15,-10 2 16-15,0 0-15 0,0 0 12 0,0 0-13 0,0 0 15 16,0 0-14-16,9-1 14 0,-9 1-10 0,0 0 12 16,0 0-12-16,0 0 12 0,0 0-10 0,0 0 10 15,-5 3-11-15,5-3 13 0,0 0-12 0,-12 2 11 16,12-2-12-16,0 0 6 0,-15 3-9 0,15-3 5 16,-9 1-36-16,9-1-7 0,-9 2-38 0,9-2-12 15,-13 3-35-15,13-3-17 0,-10 2-19 0,10-2-50 0,-9 7-22 16,9-7-48-16,-6 9-65 0,6-9-311 15,0 8-166-15</inkml:trace>
  <inkml:trace contextRef="#ctx0" brushRef="#br0" timeOffset="-101565.02">14017 14339 34 0,'0'0'363'0,"0"0"-56"0,0 0-43 0,0 0-50 15,0 0-48-15,0-9-37 0,0 9-26 0,0 0-20 16,0-8-3-16,0 8 3 0,1-9-8 0,-1 9-3 15,0 0-6-15,1-8-14 0,-1 8-14 0,0 0-1 0,2-7-17 16,-2 7 0-16,0 0-8 0,1-5-4 16,-1 5-4-16,0 0-4 0,0 0-1 0,0 0-7 15,0 0 6-15,0 0-1 0,0 0 2 0,4-6 4 16,-4 6 0-16,0 0-21 0,0 0 14 0,0 0-9 0,7 4-4 16,-7-4-1-16,0 0-8 0,0 0 3 0,0 0-1 15,7 3-3-15,-7-3 0 0,0 0-3 0,0 0-7 16,0 0-15-16,0 0-17 0,0 0-25 0,0 0-30 15,0 0-40-15,0 0-44 0,0 0-189 0,0 0 149 16</inkml:trace>
  <inkml:trace contextRef="#ctx0" brushRef="#br0" timeOffset="-96790.74">30527 3600 191 0,'0'0'264'0,"0"0"-53"0,0 0-54 0,0 0 4 15,0 0-11-15,12-5 19 0,-12 5-3 0,11-3-44 16,-11 3-17-16,10-1 16 0,-10 1 27 0,14-2-31 16,-14 2-5-16,12-1 0 0,-12 1-5 0,10-1-31 0,-10 1 22 15,0 0-48-15,13-3 20 0,-13 3-33 16,0 0 24-16,10-1-28 0,-10 1 33 0,0 0-19 16,0 0 23-16,0 0-27 0,12-1 13 0,-12 1-25 15,0 0 16-15,0 0-31 0,7-5 16 0,-7 5-29 16,0 0 16-16,0 0-21 0,4-5 20 0,-4 5-16 0,0 0 17 15,0 0-26-15,4-6 28 0,-4 6-29 0,0 0 27 16,0 0-31-16,0 0 26 0,1-6-26 16,-1 6 30-16,0 0-29 0,0 0 29 0,0 0-33 15,0 0 28-15,2-7-25 0,-2 7 24 0,0 0-22 16,0 0 24-16,0 0-27 0,0 0 29 0,0 0-25 16,0 0 22-16,0 0-29 0,0-7 23 0,0 7-21 0,0 0 22 15,0 0-20-15,0 0 23 0,0 0-28 16,0 0 21-16,0 0-18 0,0 0 19 0,0 0-13 15,0 0 14-15,0 0-25 0,0 0 31 0,0 0-31 16,0 0 32-16,0 0-32 0,0 0 26 0,0 0-26 16,0 0 31-16,0 0-24 0,0 0 16 0,0 0-27 0,0 0 28 15,0 0-29-15,0 0 22 0,0 0-17 0,0 0 21 16,0 0-23-16,0 0 21 0,0 0-16 16,0 0 24-16,0 0-21 0,0 0 20 0,0 0-20 15,0 0 24-15,0 0-29 0,0 0 32 0,0 0-29 16,0 0 27-16,0 0-28 0,0 0 28 0,0 0-17 15,0 0 20-15,0 0-32 0,0 0 28 0,0 0-24 0,0 0 18 16,0 0-20-16,0 0 23 0,0 0-27 16,0 0 19-16,0 0-21 0,0 0 19 0,-4-5-17 15,4 5 27-15,0 0-21 0,0 0 23 0,0 0-29 16,0 0 29-16,0 0-25 0,0 0 27 0,0 0-28 16,0 0 28-16,0 0-20 0,0 0 24 0,0 0-32 0,0 0 31 15,0 0-25-15,0 0 21 0,0 0-25 16,0 0 31-16,0 0-31 0,0 0 23 0,0 0-23 15,0 0 22-15,0 0-27 0,0 0 2 0,0 0-41 16,0 0-23-16,0 0-8 0,0 0 10 0,0 0-17 16,0 0 10-16,0 0-24 0,0 0-3 0,-5 7-43 0,5-7-38 15,-7 6-24-15,7-6-44 0,-10 8-211 16,4-4 43-16</inkml:trace>
  <inkml:trace contextRef="#ctx0" brushRef="#br0" timeOffset="-88914.95">13929 14309 35 0,'-11'7'393'0,"11"-7"-63"0,-9 6-75 0,9-6-7 16,0 0-75-16,-10 4-6 0,10-4-60 0,0 0 2 16,-5 5-49-16,5-5 12 0,0 0-36 0,0 0 15 15,0 0-34-15,0 0 22 0,0 0-23 0,15-1 27 16,-15 1-26-16,13-4 24 0,-1 1-20 0,-1-1 21 15,3-1-32-15,4 2 20 0,-1-2-22 0,6-1-2 16,0 0 4-16,1 0 10 0,3 0-11 0,1-3 14 16,0 4-20-16,0-2 18 0,-2 1-18 15,1 1 18-15,-2-2-18 0,2 1 21 0,0 2-18 0,-4-3 12 16,1 3-14-16,2-1 18 0,-3 0-16 0,-3 2 14 16,-1-1-9-16,0-1 11 0,-5 3-7 0,-2-1 9 15,2 1-9-15,-4 0 14 0,-1 0-10 0,-9 2 7 0,18-3-8 16,-18 3-1-16,10-3-6 0,-10 3 3 15,0 0-5-15,0 0-2 0,0 0 0 0,0 0-2 16,-12 5-7-16,1-4 16 0,-4 2 18 0,0-1 1 16,-5 1 19-16,-4 0-9 0,-1 2 26 0,-2-1-20 0,-9-1 17 15,2 2-18-15,-4 1 17 0,1-1-19 0,0 1 8 16,-7 0-18-16,6 0 12 0,3 0-18 16,0-1 15-16,3 0-13 0,0 2 8 0,7-4-21 0,2 1 15 15,2-1-25-15,5 1 16 0,-1-1-19 0,4-1 10 16,2 0-16-16,-1-1 10 0,2 1-8 15,10-2 14-15,-16 2-14 0,16-2 16 0,-12 2-17 0,12-2 17 16,0 0-14-16,0 0 14 0,-5-3-18 0,5 3 13 16,6-5-12-16,1 2 8 0,0-1-13 0,5-1 14 15,-1 0-22-15,5-1 20 0,-1 0-10 0,4-1 11 16,0-2-17-16,3 1 13 0,1 1-8 0,4-4 10 16,2 2-11-16,-1-1 11 0,-2 2-10 0,2-2 5 15,-2 3-7-15,-2 1 14 0,0-1-12 0,-2 0 12 16,2 0-11-16,-1 3 10 0,-2-1-14 0,-3 0 11 15,-2 1-14-15,1 1 16 0,-3 0-15 0,-3 2 10 16,2-1-13-16,-4 1 12 0,1-2-12 0,-10 3 15 16,17-2-15-16,-17 2 12 0,13-2-12 0,-13 2 17 15,0 0-12-15,10 2 16 0,-10-2-21 0,0 0 22 0,-4 5-15 16,4-5 12-16,-9 6-15 0,3-3 12 16,-3 2-10-16,-5 0 15 0,1 0-21 0,-5 0 18 15,-1 2-14-15,-3 0 15 0,-1 0-16 0,-2 0 15 16,-5 0-13-16,0 3 12 0,0-3-9 0,0 2 11 0,0-1-13 15,3-2 16-15,4 0-9 0,0 0 12 0,0-1-12 16,5 1 11-16,2-2-13 0,2-1 12 0,0 1-13 16,2-2 9-16,2 1-8 0,1-1 8 0,1 0-8 15,8-2 10-15,-15 4-7 0,15-4 10 0,-12 2-13 16,12-2 13-16,0 0-7 0,0 0 8 0,0 0-8 16,0 0 6-16,7-4-8 0,-7 4 5 0,15-7-7 15,-6 4 6-15,3 0-7 0,-1-1 6 0,3-1-8 16,1 1 9-16,0-2-8 0,1 3 7 15,-2-2-5-15,1 0 5 0,1 0-7 0,-1 2 12 0,1-2-8 16,-1 0 6-16,-1 1-6 0,-1 2 4 0,-2-2-6 16,-2 2 0-16,1 0 0 0,-2-1 4 0,-8 3-5 15,14-5 7-15,-14 5-6 0,14-3 3 0,-14 3-3 0,9-1 4 16,-9 1-5-16,9-3 10 0,-9 3-4 16,0 0 5-16,10-2-4 0,-10 2 4 0,0 0-5 15,0 0 3-15,0 0-10 0,0 0 13 0,0 0-4 16,0 0 4-16,0 0-1 0,0 0 8 0,0 0-8 0,0 0 4 15,0 0-6-15,0 0 1 0,-15 0-5 0,15 0 3 16,0 0-6-16,0 0 0 0,0 0-43 16,0 0-67-16,-10 1-72 0,10-1 20 0,0 0-32 0,0 0-54 15,-5 6-53-15,5-6-68 0,-2 7-120 16,2-7-215-16,0 0-208 0</inkml:trace>
  <inkml:trace contextRef="#ctx0" brushRef="#br0" timeOffset="-75322.81">18989 16745 486 0,'-7'7'429'0,"4"2"-73"16,3-2-44-16,2 2-16 0,0 1-55 0,7 3-14 0,1 3-27 16,7-1-14-16,3 5 3 0,8 0-19 15,4 0-12-15,3 0-16 0,4-1-18 0,0 0-18 0,2-2-11 16,2-2-3-16,1 0-1 0,2-2-6 0,0-2-9 15,0-2 0-15,0-5-4 0,-7-1 0 16,-2-3 0-16,3-4 6 0,-6-2 8 0,6-5-7 16,-4-3-10-16,-3-4-4 0,-1-4 7 0,-4-3-27 0,0-3 17 15,-5-2-29-15,-4-3 14 0,-5-3-29 0,-3-1-3 16,-4-3-1-16,-3 5 0 0,-3-1-6 0,-2-1 0 16,-3 1-1-16,-2-5 12 0,0 6-19 0,-1 3-6 15,1 1-44-15,-1 3-4 0,0 5-68 0,0 1-30 16,2 5-97-16,1 3-48 0,-1 3-1 0,4 4-21 15,1 7-46-15,0 0-73 0,0 0-426 0,0 0-413 16</inkml:trace>
  <inkml:trace contextRef="#ctx0" brushRef="#br0" timeOffset="-74631.16">21085 16593 74 0,'-2'-6'384'0,"2"6"-12"0,0 0-55 15,-3 9-6-15,6 1-12 0,-2 3-42 0,0 2-21 16,4 6-31-16,1 2-1 0,1 3-22 0,3 0 0 16,1 2-5-16,0 0-23 0,2-1-10 0,0 1-15 15,1-1-32-15,-3-1 0 0,2-2-27 0,2 0 3 16,-6-4-25-16,2-2-6 0,-1-1-7 0,-4-3 7 0,1-3-15 15,-2-1 11-15,1-1-12 0,-4-2 2 0,-2-7-14 16,3 4-54-16,-3-4-70 0,0 0 3 0,-6-11-43 16,1 1 15-16,-2-3-2 0,-2-7-8 0,-1-5-18 15,-4-3 10-15,2-5 25 0,-1-3 15 0,2 0-8 16,0 0 48-16,1 6-12 0,2 0 41 0,3 6 9 16,1 2 58-16,0 4-40 0,-1 3 24 0,4 2-30 15,1 4 64-15,1 3 17 0,-1 6 13 0,9-7-13 16,-9 7 17-16,10 2 5 0,-1 2 2 0,2 1-1 15,2 2 11-15,3 0-5 0,2 1-10 0,1 2-2 16,1-2-12-16,3 1-6 0,0-2-10 0,-1 0-4 16,0-1-6-16,-1-1-6 0,1-2 4 0,-5-1-9 15,2-3 4-15,-1-2-8 0,-3-2-2 0,-1-2-7 0,3-4 2 16,-1-1-12-16,-4-3 7 0,0-2-8 16,-1-2 10-16,-1-2-17 0,-3 2 12 0,-1-1 55 15,1 2 53-15,-1 2 21 0,-1 2 29 0,-1-1-27 16,0 6-28-16,-2-1-32 0,4 2-22 0,-4 2-8 0,-2 6-14 15,9-5-2-15,-9 5-3 0,11 7-7 0,-7 0 3 16,6 4-5-16,2 4-1 0,-2 1-7 0,3 3 5 16,1 7-10-16,1-1 5 0,1 6-18 0,1 1-82 15,-1 0-39-15,0 1-41 0,-2 0-60 0,3-2-74 16,-3 1 27-16,1-5-69 0,-3 0-11 0,2-1-51 16,-3-3-81-16,1-4-214 0,-1-4-208 0</inkml:trace>
  <inkml:trace contextRef="#ctx0" brushRef="#br0" timeOffset="-74356.2">22209 16370 175 0,'0'-9'428'0,"-3"3"-68"16,3 6-75-16,0 0-17 0,-13 3-25 15,7 5-27-15,0 0-36 0,0 4-37 0,1 2-8 0,0-2-23 16,1 5-3-16,1 1-16 0,0 0-7 0,3 0-12 15,0 1-14-15,3 1-21 0,2 1 6 0,1 1 8 16,0-1-2-16,3-2-10 0,1 0-8 0,1-1-7 16,-2 0-1-16,2-3-7 0,-4 0-3 0,0-3 0 15,0-1 0-15,-1-1-2 0,-2-1 10 16,-3 0 6-16,-1-2-2 0,-1 1-7 0,-5-2-2 0,-1 0-4 16,-2 0-3-16,-2-1 1 0,-1-1-1 0,1 0-19 15,-2 1-35-15,4-2-35 0,-1 0-27 0,0-1-38 0,10-2-51 16,-15 4-64-16,15-4-56 0,-10 2-96 15,10-2-208-15,0 0-131 0</inkml:trace>
  <inkml:trace contextRef="#ctx0" brushRef="#br0" timeOffset="-74071.2">22523 16326 466 0,'10'-8'466'0,"-5"2"-107"16,-5 6-52-16,7-4-17 0,-7 4-25 15,5 6-16-15,-2 0-44 0,-1 4 18 0,1 2-22 0,3 2 8 16,-2 4-15-16,2 2 22 0,1 4-27 0,3-2-24 16,-1 2-18-16,2 1-13 0,2-1-15 0,0 0-10 15,0-1-13-15,2-2-12 0,-1 2-5 0,1-8-1 16,1 0 0-16,0 1-13 0,-2-3 6 0,4-1-18 16,0-1 1-16,-1-2-13 0,3-2-2 0,-2-3-6 15,2 0-4-15,2-3-1 0,-1 1-12 0,2-2 7 16,0-2-8-16,2 0-7 0,1-1-53 0,-2 0-57 15,-1-1-38-15,1-2-48 0,-3 4-74 0,-6-2-39 16,3 0-53-16,-5 0-115 0,-3 0-141 0,-1 1-310 16,-9 3-491-16</inkml:trace>
  <inkml:trace contextRef="#ctx0" brushRef="#br0" timeOffset="-73919.19">22848 16641 187 0,'-21'-4'536'0,"3"1"-62"16,-1 0-80-16,4-1-33 0,-1 0-101 0,5-3-25 0,0 0-76 15,3 0-4-15,1 1-57 0,3-2 5 16,3 0-44-16,2 0 16 0,2-2-40 0,2 1-1 0,-1 0-83 16,1 1 0-16,-1 0-55 0,4-1-70 0,-6 2-46 15,3-1-83-15,-3 1-91 0,-4-3-192 0,-3 2-99 16</inkml:trace>
  <inkml:trace contextRef="#ctx0" brushRef="#br0" timeOffset="-73789.2">22508 16386 470 0,'-21'-6'449'16,"3"-1"-80"-16,0 0-30 0,6-2-54 0,-2 2-59 15,5-3-51-15,2 2-29 0,5-3-34 0,3 1-20 16,4-3-16-16,4 2-17 0,6-3-13 0,2 1-11 16,7-2-5-16,2 4 0 0,2-1-20 0,1 1-44 15,1 1-71-15,0 3-42 0,-5 3-83 0,0 1-98 16,-3 2-337-16,-3-1-174 0</inkml:trace>
  <inkml:trace contextRef="#ctx0" brushRef="#br0" timeOffset="-73389.01">22803 16695 375 0,'0'0'504'0,"-10"-4"-69"0,10 4-74 0,-4-8-49 16,4 8-30-16,4-13-55 0,2 5-29 0,4-2-35 16,2 1-36-16,7-3-22 0,3-3-15 0,3 4-21 15,5-3-6-15,-1 2-73 0,2 2-33 0,1-1-86 16,-3 0-14-16,3 2-113 0,-3 2-102 0,0-1-396 16,-7 1-263-16</inkml:trace>
  <inkml:trace contextRef="#ctx0" brushRef="#br0" timeOffset="-72751.18">24292 15716 452 0,'-17'4'476'0,"4"6"-55"0,-6 3-63 0,0 7-19 16,-4 7-48-16,1 3-38 0,4 3-4 0,2 2-36 15,4 2-20-15,2 1-21 0,6-1-19 0,4-1-22 16,4 0-13-16,5 3-27 0,3 1-17 0,5-3-10 16,4-1-17-16,3-2 0 0,4-3-15 0,3-1 1 15,1-1-4-15,1-4-8 0,2-1-37 0,1-2-62 0,-1-3-46 16,2-2-38-16,-2-3-18 0,-3-3-16 0,0-3-36 16,-2-1-54-16,-4-3-44 0,-2-3-38 15,1-2-358-15,-4-4-232 0</inkml:trace>
  <inkml:trace contextRef="#ctx0" brushRef="#br0" timeOffset="-72175.1">25661 16217 61 0,'2'-13'644'0,"6"0"-126"0,-2 2-103 0,3-1-34 16,6-3-76-16,2 2-23 0,3-2-67 0,5 1-19 15,-1 2-57-15,4 1-10 0,0 2-41 0,-1 0 1 16,4 2-32-16,-3 2-29 0,0 2-85 0,-1-1-31 15,0 2-67-15,-3 1-116 0,0 1-45 0,-1 0-105 0,-2 0-290 16,-2-1-216-16</inkml:trace>
  <inkml:trace contextRef="#ctx0" brushRef="#br0" timeOffset="-71770.98">26298 15541 145 0,'0'-8'565'0,"2"2"-158"16,-2 6-93-16,1-10-72 0,-1 10-38 0,0 0 28 16,0 0-11-16,0 0-18 0,-1 13-8 0,-1-1 12 15,2 1-26-15,2 3-17 0,-1 2 5 0,3 4 8 16,0-1-5-16,4 2-11 0,1 1-24 0,2 1-7 15,3-2-34-15,0 0-2 0,2-1-32 0,0-3 5 16,3 0-24-16,-4-4 9 0,2-3-24 0,-2-1 15 0,4-1-22 16,-6-4 16-16,2-1-25 0,-2-3 19 15,0-2-24-15,-3-1 4 0,3-3-6 0,-2-3 1 16,1-2-9-16,-2-3-8 0,-1-1-7 0,-2-2-3 16,0-1 5-16,-3 1 2 0,2 0 3 0,-2 1 4 15,0 2 11-15,-1 2-5 0,-1 1-7 0,2 3 1 16,-4 6 2-16,3-5 34 0,-3 5 26 0,2 6 23 15,0 1-2-15,0 4-7 0,3 3-7 0,-1 3-6 0,1 4-15 16,0 3 2-16,2 3-7 0,0 3-7 0,0 0-1 16,-1 2 0-16,-1 2-8 0,0-1 0 15,-2 0-32-15,-2-1-79 0,-1-1-51 0,0-3-86 0,-1 1-66 16,-2-3-64-16,-2 1-15 0,1-3-79 0,-1-4-79 16,-4-1-383-16,3-3-483 0</inkml:trace>
  <inkml:trace contextRef="#ctx0" brushRef="#br0" timeOffset="-71406.99">26353 15269 1 0,'-7'-8'556'0,"2"5"-100"0,5 3-35 15,-13-3-67-15,13 3-10 0,-14 5-60 0,6-2-58 0,0 2-4 16,-1 0-47-16,3 1-3 0,0-1-41 15,-1 1-17-15,1 0-30 0,1 0-5 0,0-2-23 16,1 1 0-16,4-5-21 0,-7 7 28 0,7-7-13 16,0 0-2-16,0 0-13 0,0 0-3 0,7-9-9 0,0 1 6 15,1-3-10-15,0-2 1 0,3-3-11 0,1 0 1 16,-1 0-10-16,2 0 6 0,-3 2-8 16,-1 3 18-16,1-1-7 0,-5 5-1 15,3 0-5-15,-1 1 46 0,3 2 8 0,-10 4 35 0,15 0 1 0,-5 3 6 16,2 1-31-16,-1 5 2 0,3-1-12 0,-1 6-5 15,1 2-9-15,4 4-6 0,-1 2-20 0,-2 2-11 16,3 1-89-16,-1 4-61 0,-2-3-73 0,2 5-52 16,-2-5-42-16,0-1-108 0,-1-2-92 15,0-1-414-15,0-7-494 0</inkml:trace>
  <inkml:trace contextRef="#ctx0" brushRef="#br0" timeOffset="-71246.98">26978 15324 575 0,'18'-8'506'0,"-4"4"-55"0,5 1-78 16,-1 5-6-16,5 2-48 0,0 5 5 0,5 5-13 16,4 7-6-16,-1 3-31 0,-1 4-36 0,1 4-30 15,-3 0-36-15,3 10-27 0,-8-5-36 0,-3 3-13 0,0 0-19 16,-9 3-18-16,-2-1-5 0,-4 2-52 16,-6 1-39-16,-5-1-74 0,-3 0-62 0,-7-2-63 15,1-2-75-15,-3-3-48 0,-4-2-62 0,1-4-105 16,-2-3-352-16,3-8-434 0</inkml:trace>
  <inkml:trace contextRef="#ctx0" brushRef="#br0" timeOffset="-70960.99">27484 15067 293 0,'17'-4'388'0,"-6"4"-59"0,1 4-45 0,-3 2-35 15,-1 1-19-15,-2 4-22 0,0 2-23 0,-3 2-15 16,-2 1-26-16,0-1-18 0,-1 1-8 0,-1 2-23 16,0-1 6-16,-2-1-27 0,3-1 5 0,0-3-10 15,0 2 1-15,0-3 5 0,4-1-4 0,1-1 1 16,2-2-8-16,2-1-8 0,5-3 4 0,2-1-25 16,3-1 6-16,4-2-19 0,-1 1 8 0,1-1-16 15,3-2 9-15,-1 1-15 0,-4 0 9 0,-2 1-16 16,1 0 1-16,-7 0-72 0,4 1-1 0,-6 1-33 15,2 1-13-15,-5 1-10 0,-2 2-72 0,-3 2-65 0,-3 0-100 16,-4 4-424-16,-3 1-310 0</inkml:trace>
  <inkml:trace contextRef="#ctx0" brushRef="#br0" timeOffset="-69626.22">26250 17678 305 0,'-5'-9'308'16,"-1"2"-46"-16,1-1-12 0,0-1-27 0,-1 0-3 15,1-2-49-15,0-1 36 0,-2 1-59 0,2-1 44 16,1 2-83-16,-2-1 49 0,2 0-3 0,0 1 23 15,0 0-30-15,2 3-1 0,-1 0-50 0,1 2-10 16,2 5-23-16,-3-8 14 0,3 8 1 0,0 0 56 16,0 0-28-16,7 7-4 0,-4-1-15 0,3 1-9 15,0 3-19-15,0 2-5 0,2 0-16 0,-3 1 0 0,2 1-12 16,-2 0 4-16,1-1-15 0,-2-2-13 0,0 0-85 16,-2-3-65-16,1 0-9 0,-1-2-100 15,-2-6-74-15,2 6-177 0,-2-6-401 0,0 0-473 0</inkml:trace>
  <inkml:trace contextRef="#ctx0" brushRef="#br0" timeOffset="-67585.02">24873 15943 279 0,'0'0'380'0,"-5"-11"-139"0,5 11-33 15,0 0-29-15,0 0 12 0,0 0-18 16,0 0 5-16,0 0 2 0,6 9-25 0,0-2 4 0,-1 1-38 16,3 3 2-16,2 0-20 0,0-1-6 0,3 3-10 15,3 0-14-15,0 0-8 0,2-2-11 0,2 1-9 16,-1-1-11-16,0-2 1 0,2-2 2 0,-1 1-5 16,-3-5-5-16,1 0-1 0,2-3-4 0,-1-3-8 15,-1 0 3-15,1-6 19 0,-1 1-21 0,0-5 14 16,1-2-22-16,-1-5 1 15,-1-2-1-15,2-7-4 0,0-2-1 0,-5 0-1 0,0 4 0 0,-1 0 9 16,-3 3 41-16,-1 4 46 0,0 1 44 0,-2 3-32 0,0 4-32 16,-2 2-18-16,-1 3-11 0,-4 7-6 15,9-2-7-15,-9 2 21 0,7 9 19 0,-2 2-10 16,-3 2-6-16,2 5 2 0,-1 4-19 0,-1 3 4 0,3 2-13 16,-2 5 4-16,-1 3-13 0,2 2-6 0,1 6-2 15,-3 3 2-15,0-1-9 0,-2 0-33 16,0 1-66-16,-1-8-29 0,-2 6-102 0,-3-1 4 0,0-2-47 15,-3-2 4-15,-2-2-56 0,-3-3-45 0,0-7-56 16,0-2-340-16,-1-2-268 0</inkml:trace>
  <inkml:trace contextRef="#ctx0" brushRef="#br0" timeOffset="-66627.9">23719 15840 132 0,'2'-10'412'0,"0"0"-84"0,-1 2-65 16,1 1-18-16,0 0-65 0,-2 1 13 0,0 6-30 15,4-12-44-15,-4 12-22 0,1-8-27 0,-1 8-17 16,0 0-10-16,0-9-1 0,0 9 16 0,0 0-9 16,-10 4 13-16,10-4-6 0,-10 6-2 0,2-2-5 0,2 3-7 15,-2 0 0-15,-2 2-2 0,-2 1 4 16,-3 2 7-16,2 1-10 0,-5 2 1 0,-2 1-2 16,3 2 0-16,-4-1 3 0,1 2 19 0,0-1-21 15,0 0 0-15,3 2-3 0,-2-2-5 0,5-1-4 0,-3-2-3 16,4 0-3-16,-1 0-6 0,3-1-3 0,-2 1-4 15,4-3 0-15,0 0-3 0,1-1-1 16,0-1-1-16,1 0 0 0,3 0-3 0,0-1-15 0,2 0 24 16,2 0-3-16,1 1 8 0,4 0 3 0,2-1 47 15,2 2-22-15,7 1 10 0,1-1-16 0,3 1 10 16,5-1-20-16,3 2 13 0,2-1-19 0,6 1 9 16,1 0-12-16,3-1 8 0,-2-1-16 0,-3-3 9 15,-2 1-14-15,0-2 14 0,-2-1-17 0,-4 0 10 16,-3-2-12-16,-5 0 10 0,0 0-7 0,-3-2 15 15,-2 2-7-15,-3-3 13 0,1 0-12 0,-12-1 8 16,15 0-18-16,-15 0 5 0,0 0-10 0,10-2 3 16,-10 2-24-16,0 0-2 0,0 0-13 0,-11-4 14 15,11 4-13-15,-14 0 19 0,2 1-9 0,2 2 18 0,-2-2-13 16,-3 1 14-16,2 4-9 0,-6-3 15 16,1 3-3-16,0-2 25 0,-3 5-4 0,1-1 9 15,-1 2 6-15,0-1 7 0,1 4-11 0,-1-1 6 16,2 0-6-16,2 2 6 0,2-1-13 0,1 3 8 15,0-2-12-15,5 2-4 0,0-2 5 0,5 1 5 16,-2-2-7-16,5 0 5 0,1 0 8 0,1 0 1 16,5-1 5-16,3 1-6 0,2-3-3 0,5 1-1 15,2-2-3-15,3 0-2 0,3-2-2 0,3 0 1 0,1-4-3 16,6 2-23-16,5-3-59 0,0 0-56 0,0 0-53 16,1-2-34-16,0-2-70 0,1 2-17 15,-2-2-89-15,0 0-91 0,-2-4-312 0,-1 1-310 16</inkml:trace>
  <inkml:trace contextRef="#ctx0" brushRef="#br0" timeOffset="-66273.9">24114 17218 450 0,'-19'9'456'15,"4"-1"-112"-15,1 0-87 0,2-1 1 0,8-1 21 16,4-6-12-16,9 9-20 0,8-6-14 0,11-1-22 16,13-4-14-16,16-1-10 0,20-4-4 0,11-3-1 0,30-5-16 15,8-3-10-15,10-5-18 0,3 1-4 16,9-4-11-16,6 0-20 0,5 0-11 15,4-3-11-15,0 2-16 0,2-1-7 0,-1 3 6 0,-3 0-19 0,-7 1-10 16,-10 4-5-16,-9 1-9 0,-15 1 1 0,-25 4-8 16,-11 3 0-16,-7 0-1 0,-20 3-37 0,-7 1-50 15,-5 0-54-15,-13 4-43 0,-8 0-29 0,-10 3-31 16,-14 0-42-16,7 4-57 0,-14 2-59 0,-7 1-91 16,-13 3-409-16,-10 3-446 0</inkml:trace>
  <inkml:trace contextRef="#ctx0" brushRef="#br0" timeOffset="-65769.3">25521 17466 105 0,'0'0'389'0,"0"0"-99"0,0 0-52 16,0 0-3-16,0 0-29 0,0 0-24 0,9 4 30 15,-4 0-26-15,2 2-3 0,2 1-36 0,0 3 38 16,0-1-29-16,4 4 22 0,-1 2-25 0,0-1 32 16,2 1-18-16,-3 2-10 0,3 1-22 0,-2 0-10 0,2 0-15 15,-1 4-20-15,-2-3-9 0,0 0-17 0,0-1-8 16,-2 0-3-16,1-2-11 0,-2-1-7 0,-2-3-3 15,-1-1-5-15,0-1 11 0,0-2 66 0,-2-1 27 16,-3-7-23-16,4 6-19 0,-4-6-21 0,0 0-11 0,-3-9-12 16,3 0-13-16,-2-4-16 0,0-2-52 15,1-3-43-15,0-3 9 0,3-3-10 0,0 1 4 16,4-5-11-16,2 0 12 0,2 0 14 0,3 2 8 0,0 2 7 16,2 1 12-16,0 3 0 0,0 4 5 0,2 2 7 15,2 4-5-15,0 3 5 0,1 5 7 0,0 2 26 16,4 4 30-16,-2 2 5 0,6 4-3 0,0 3 9 15,-2 3-2-15,3 4-4 0,-3 2 1 0,-1 2 6 16,-3 2-8-16,0 1-1 0,-2 0-9 0,-6-1-2 16,2 0-5-16,-4-1-10 0,1 0 4 0,-1-2-1 15,-5-2-7-15,1-2 11 0,0-1-13 0,-3-2-41 16,-1-2-68-16,1-1-67 0,-3-2-73 0,2 0-36 0,-2-4-48 16,-2-7-158-16,0 9-560 0,0-9-653 15</inkml:trace>
  <inkml:trace contextRef="#ctx0" brushRef="#br0" timeOffset="-53649.27">13519 11873 468 0,'15'-7'440'0,"0"4"-22"0,-1-2-47 0,3 3-39 0,-3 1-26 16,2 1-69-16,0 2-24 0,0 2-33 0,0 1-18 16,-1 3-39-16,0 1-12 0,1 2-18 15,-2 2-11-15,0 2-15 0,-3-2-9 0,-1 3-8 0,-2-2-5 16,-3 0-7-16,-1 0-6 0,0-2-1 0,-3-1-5 16,0 1 7-16,-1-1 34 0,-1-4 20 0,1 1 8 15,-2-2-18-15,2-6 1 0,-4 6-2 0,4-6-9 16,0 0-17-16,0 0-7 0,-7-6-4 0,9 0-8 15,-1-2-14-15,0-3 2 0,4-1-6 0,2-3-5 16,2 2-3-16,-2 0 1 0,4-3-2 0,1 3-2 16,-3 2 2-16,4 1-3 0,-2 1-46 0,1 2-52 15,-2 2-46-15,2 1-81 0,-2 3-23 0,-10 1-61 16,18 1-57-16,-9 3-113 0,-3 0-402 0,-1 2-437 16</inkml:trace>
  <inkml:trace contextRef="#ctx0" brushRef="#br0" timeOffset="-53450.26">13601 12412 116 0,'-15'14'759'0,"6"-3"-127"0,1-1-106 16,1-4-70-16,7-6-34 0,0 0-4 0,5 4-58 0,4-6-26 16,5-4-61-16,6-2-37 15,8-1-64-15,3-3-11 0,9 0-49 0,1-1-5 0,1-2-35 0,-1 4-3 16,1 0-102-16,-8 1-87 0,-2 2-87 0,-6 1-104 15,-2 2-103-15,-5 2-103 0,-6 2-122 0,0 0-297 16,-13 1-511-16</inkml:trace>
  <inkml:trace contextRef="#ctx0" brushRef="#br0" timeOffset="-47530.42">14836 10730 124 0,'0'0'183'0,"-4"-5"-34"0,4 5-10 0,0 0-21 15,0 0-22-15,-5-6-16 0,5 6-20 0,0 0-19 0,0 0-10 16,0 0-7-16,0 0-10 0,0 0-4 16,4-6 8-16,-4 6-2 0,0 0 1 0,15-2 17 15,-15 2-6-15,19-1 7 0,-6-1 0 0,4 0-2 0,-1 0-2 16,5 0-2-16,-2-1-5 0,8 0 13 0,1 0-2 16,0 0-7-16,7 0-9 0,3-1 12 0,-1 0-6 15,1 1 1-15,8-1-5 0,3 2-10 16,-1-1 8-16,2-2 3 0,-1 2-2 0,1-1 3 0,1 3-3 15,-3-2 3-15,1 2-6 0,-2-2-6 0,-5 0 9 16,2 1-12-16,-3 1 6 0,2 0-2 0,6 0-2 16,-2-2-4-16,-2 3 2 0,2-1-6 0,4 0 5 15,0 0-7-15,-2 0 8 0,3-1 5 0,-1 1 0 16,-1 0 1-16,-1-2-6 0,-6 2-2 0,-1 0 5 16,0 0 1-16,-2 0 2 0,2-1 0 0,-3 1 3 15,0 0-7-15,-3 0 3 0,4 0 0 0,-2 0 0 16,-1-2-4-16,3 2 3 0,0-2-3 0,0 1-1 15,2 0-4-15,6-2 4 0,-7 3-3 0,2-1 0 16,-2-1-2-16,0 0 3 0,1 2-5 0,-2-1 4 16,-1 0-1-16,2 0-2 0,-4 1 0 0,0 0 2 0,-1 0 5 15,-3 0-9-15,-2 1 6 0,0-1-6 0,-1-1 2 16,0 2-4-16,-1-1 4 0,-1 1 0 16,2 0 3-16,-2-1-8 0,-2 1 3 0,1 0-3 0,1-2 2 15,-2 2 7-15,0-1-4 0,-2 1-2 16,3-1 17-16,-1 1-24 0,1-1 23 0,-1 0-22 15,1 0 20-15,-4 1-14 0,4-2 12 0,-2 1-19 0,-1 1 17 16,-2-1-20-16,1 1 22 0,0 0-23 16,-2-1 24-16,2 1-13 0,0 0 6 0,-2 0-14 15,1 1 15-15,-1-1-16 0,0 0 3 0,0 0 5 0,-1 1-1 16,2-1-1-16,-3 0 5 0,3 1-1 0,-2-1-5 16,-1 0 6-16,3 0 3 0,-2 0-6 0,1 0 2 15,-1 0 2-15,2 0-3 0,-3-1 4 0,3 1-2 16,-2 0 3-16,1-1-7 0,-1 1 22 0,2-1-25 15,-1 1 22-15,-1-1-17 0,3 0 18 0,-1 1-18 16,0-2 15-16,-1 2-16 0,2-1 16 0,-1 1-13 16,2-1 15-16,-1 0-16 0,0-1 13 0,-1 2-14 15,2-1 14-15,-2 0-8 0,0 1 13 0,-2-1-16 16,3 0 10-16,-2 1-13 0,-1 0 14 0,-1 0-18 0,3-2 16 16,-3 2-14-16,3 0 13 0,-2 0-17 15,-2 0 2-15,-3 2-2 0,2-2 5 0,-2 0 2 0,2 1-2 16,-3-1 3-16,2 1 0 0,0-1-3 0,0 1 5 15,0-1 0-15,-2 1-2 0,4 1 1 16,-4-2-2-16,3 1 2 0,-2-1 0 0,2 1 3 16,-3-1-5-16,2 0 1 0,-2 1-1 0,3-1-2 0,-3 2 3 15,3-2-2-15,-3 1 0 0,2-1 3 0,-3 1-5 16,2-1 4-16,0 1-2 0,-2 0 3 0,2-1 1 16,0 1-2-16,-2 1-1 0,3-2-3 15,-3 0 4-15,4 1-4 0,-3 0 2 0,2-1-2 0,-3 0 4 16,5 0-2-16,-4 0 4 0,5 0-5 0,-1 0 1 15,1 0-1-15,-2 0 4 0,2 0-3 0,1 0 0 16,-1 0 3-16,0 1-6 0,-1-1 5 0,1 0 0 16,0 1 5-16,-2-1-4 0,2 1-4 0,-4-1 0 15,0 2 2-15,2-2-2 0,1 1-4 0,0-1 8 16,-2 1-1-16,2-1 0 0,0 2-4 0,1-1 2 0,-2-1 0 16,2 0-2-16,0 1 6 0,1-1-4 15,0 1 1-15,0-1 2 0,1 1-3 0,0 0 1 16,2-1 1-16,4 0 0 0,0 2 0 0,0-1 1 15,1-1-2-15,2 2-1 0,0-1 1 0,0 0-2 16,0-1 1-16,2 2 1 0,0-1 4 0,3 2-3 16,-3-2-2-16,0 0 0 0,3 0 5 0,-3 0-3 15,0 2-1-15,-2-2 6 0,0 1-3 0,1-1-2 0,-2 2-1 16,1-2 0-16,-3 2 3 0,0-2 2 0,-2 0 18 16,2 0 0-16,-4-1 2 0,-1 0 10 15,-2 0-3-15,2 1 10 0,-4-1 24 0,2-1-8 16,-3 1 23-16,-3 0 24 0,-1-1 3 0,-1 1-4 0,1-1-19 15,-1-2-16-15,-2 2-18 0,0-2-5 0,-1 0 24 16,-1-1-11-16,-8 4-10 0,11-4-10 0,-7-1-10 16,-4 5 0-16,9-7-7 0,-9 7-3 0,4-7-4 15,-4 7 0-15,-4-6-27 0,4 6-105 0,-15-1-127 16,2 4-224-16,-4-1-467 0,-3 0-511 0</inkml:trace>
  <inkml:trace contextRef="#ctx0" brushRef="#br0" timeOffset="-40675.07">11237 13174 31 0,'0'0'123'0,"-4"-8"-12"0,4 8-3 16,-4-5-29-16,4 5 7 0,-2-8-26 0,2 8 29 15,-4-8-50-15,4 8 47 0,-3-8 2 0,3 8 19 16,-1-9-31-16,1 9 30 0,-1-8-31 0,1 8 24 15,-1-8-24-15,1 8 25 0,-3-5-31 0,3 5 12 16,0 0-38-16,0-9 14 0,0 9-37 0,0 0 16 16,-1-6-29-16,1 6 19 0,0 0-29 0,0 0 18 15,0 0-28-15,0 0 23 0,0-8-22 0,0 8 46 16,0 0-14-16,0 0 25 0,0 0-14 0,6-4 19 16,-6 4-22-16,0 0 27 0,0 0-11 0,0 0 33 15,9-4-1-15,-9 4 3 0,0 0 12 0,0 0 0 16,0 0-18-16,0 0-15 0,4-4-13 0,-4 4-9 15,0 0-9-15,0-7-1 0,0 7-5 0,0 0-4 16,0-9-6-16,0 9-4 0,0 0 1 0,-1-8-1 16,1 8-3-16,0 0 3 0,-2-9 1 0,2 9-16 15,0 0 13-15,-1-7-4 0,1 7 1 0,0 0 2 0,-5-7-5 16,5 7 7-16,0 0-6 0,-1-7-1 16,1 7 1-16,0 0 3 0,-3-5-3 0,3 5 0 15,0 0 2-15,0 0-6 0,0 0-17 0,0-7-22 0,0 7-8 16,0 0-10-16,0 0-8 0,0 0-6 15,0 0-1-15,-4-6-1 0,4 6-10 0,0 0-6 0,0 0-21 16,0 0-5-16,0 0-11 0,0 0-9 0,0 0 3 16,0 0 13-16,0 0-11 0,0 0-25 15,-5-5-25-15,5 5-152 0,0 0 205 0</inkml:trace>
  <inkml:trace contextRef="#ctx0" brushRef="#br0" timeOffset="-28366.58">12138 13761 6 0,'4'-6'399'0,"-4"6"-89"16,5-8-49-16,-5 8-28 0,6-9-61 0,-6 9-47 15,3-6-30-15,-3 6-18 0,0 0-4 16,0 0 10-16,6 5 22 0,-6-5-11 0,0 11 8 0,0-3-8 16,-1 2-8-16,0-1-24 0,-1 3 8 0,1 2-19 15,0-1 1-15,-2 2-4 0,2 0-1 0,-4 2-8 16,2-2-3-16,2 0-13 0,-4 1-5 0,2-1 2 15,2-1-3-15,-3 0-2 0,3-4-3 0,-2 1-1 16,1 0-2-16,1-2 2 0,-1-2-4 0,1 1 8 16,-1-2-3-16,2-6 14 0,-3 10-14 15,3-10 6-15,0 0-10 0,3 8 2 0,-3-8-28 16,0 0-14-16,10-4-13 0,-10 4-34 0,10-11 2 0,-5 5-36 16,3-2 11-16,-2-2-45 0,3-1 24 0,-1 2-32 15,1-2 24-15,0 2-42 0,-2-2 16 0,1 3-51 16,1 0-45-16,-3 0-112 0,2 0 180 0</inkml:trace>
  <inkml:trace contextRef="#ctx0" brushRef="#br0" timeOffset="-27878.53">12506 13880 435 0,'0'0'307'0,"0"0"-22"15,0 0-35-15,3 8 2 0,-3-8-62 0,-2 11-2 16,1-3-25-16,1 1-20 0,-1 1-17 0,1 3-20 16,-2 0-8-16,2 0-12 0,0 1-3 0,0 1-26 15,2 0-1-15,-2 1-19 0,0-2 5 0,0 3-18 16,0-4 13-16,1 3-23 0,-1-1 6 0,-1-3-13 0,1 2 12 15,0-1-11-15,0-1 10 0,0-1-16 16,-2 0 17-16,1-2-10 0,1 0 11 0,0-2-20 16,-1-1-21-16,1-6-27 0,-4 10-7 0,4-10-19 15,0 0-22-15,0 0 7 0,0 0-44 0,0 0 24 16,-1-13 5-16,2 7 14 0,3-3 14 0,-3-2 13 16,2 0 13-16,-1 1 14 0,2-3 37 0,-1 2-10 15,-1 0 52-15,2 0-17 0,1 1 23 0,-2 1-14 0,1 0 13 16,-1 3-26-16,0-1 17 0,-3 7-2 0,9-6 31 15,-9 6-14-15,0 0-1 0,10 4 5 16,-10-4 1-16,5 10-3 0,-2-2-13 0,-2 0 1 0,-1 3-5 16,0-1 0-16,1 3-16 0,-2 1 5 0,1-1-13 15,0 3 15-15,-1-1-22 0,-2 2 16 0,2 0-44 16,-3 0-48-16,2 0-35 0,-2-2-25 0,-1 2-60 16,0-3-27-16,1 1-100 0,-1-2-298 0,1-2-125 15</inkml:trace>
  <inkml:trace contextRef="#ctx0" brushRef="#br0" timeOffset="-27639.53">12688 14067 197 0,'0'0'330'0,"0"0"-35"0,7 6-54 16,-7-6 9-16,4 11-43 0,-4-5-8 0,0 2-50 15,0 1-13-15,0 3-18 0,0-1 13 0,-1 2-24 0,0 2-24 16,1 1-25-16,-2 1-3 0,1-1-16 16,1 1-1-16,0 0-7 0,-1 0-6 0,1 1 3 15,1-1-31-15,-1 1-75 0,0-3-28 0,0 0-52 0,0-1-58 16,3-1-42-16,-3-1-39 0,2-1-205 0,1-1 4 16</inkml:trace>
  <inkml:trace contextRef="#ctx0" brushRef="#br0" timeOffset="-27441.53">12897 14156 413 0,'4'-6'340'0,"-1"1"-63"0,-3 5-59 16,5-5-39-16,-5 5-12 0,0 0 3 0,0 0-42 16,4 10 9-16,-4-10-32 0,-2 12 3 0,2-1-35 15,-2-2-5-15,-1 4-23 0,3-1 5 0,-1 4-19 16,-2 0 9-16,3-1-11 0,-2 2-8 0,-1-1-26 15,2-1-47-15,-2 1-21 0,3-3-37 0,-2 1-51 16,-1-1-36-16,2-3-29 0,0 0-27 0,-1-3-226 0,1 0 37 16</inkml:trace>
  <inkml:trace contextRef="#ctx0" brushRef="#br0" timeOffset="-27236.95">13048 14026 108 0,'5'-13'404'0,"3"5"-147"0,-3-1-20 0,0 4-61 0,-5 5 23 16,11-4-16-16,-11 4-10 0,9 3-42 0,-5 1 5 16,0 4-11-16,0 2 3 0,0-1-45 0,-2 3-7 15,2 4-20-15,-1 0-1 0,-1-1-3 0,1 3-20 16,-2 0 1-16,3 2 0 0,-3-2-36 0,1 1-30 16,0-3-70-16,-2 2-2 0,1-5-50 0,1 2-20 15,-2-2-76-15,2-2 6 0,-2 0-259 16,1-5 2-16</inkml:trace>
  <inkml:trace contextRef="#ctx0" brushRef="#br0" timeOffset="-27064.96">13341 13968 301 0,'5'-8'345'16,"2"3"-117"-16,-7 5 6 0,0 0-26 0,0 0-8 15,11 6-40-15,-11-6 0 0,2 12-40 0,-1-2-3 0,1 0-29 16,-1 3-4-16,-1-1-27 0,0 1 5 15,0 2-26-15,0 0 11 0,0 0-22 0,1 2 13 16,1 0-76-16,-2-1-22 0,1 1-85 0,-1-4-34 0,1 0-69 16,-1-1-327-16,0-1-89 0</inkml:trace>
  <inkml:trace contextRef="#ctx0" brushRef="#br0" timeOffset="-26865.35">13493 14015 357 0,'0'0'340'0,"0"0"-66"0,7 3 0 0,-7-3-56 0,4 9-8 16,-1-3-52-16,-1 3-4 0,-2-1-30 0,3 4-8 15,-2-1-34-15,0 2-9 0,2 3-20 0,-2 1 3 16,2 0-14-16,-2 1-6 0,2 0-9 0,-1-1-42 16,-2 1-65-16,2 0-5 0,-1-1-66 0,0-1-19 15,-1-2-67-15,0-2-4 0,3-1-265 0,-1-1-2 16</inkml:trace>
  <inkml:trace contextRef="#ctx0" brushRef="#br0" timeOffset="-26682.03">13654 14129 402 0,'2'-9'326'0,"3"3"-64"0,-3 0-81 16,-2 6-15-16,5-4-6 0,-5 4-33 0,0 0 5 15,2 7-34-15,0 0 13 0,-2 0-42 0,0 4 7 0,0-1-31 16,0 3 12-16,-2 2-29 0,2-1 17 0,-1 3-23 15,1 1 17-15,0-1-23 0,-1 1 8 0,1 0-75 16,0-1-23-16,-2-2-34 0,2 0 4 0,-1-1-47 16,1-2-19-16,1-1-8 0,1-2 9 0,-2 0-22 15,1-3-187-15,-1-6 167 0</inkml:trace>
  <inkml:trace contextRef="#ctx0" brushRef="#br0" timeOffset="-26508.98">13761 14201 403 0,'3'-7'363'15,"-1"0"-93"-15,-1 1-62 0,-1 6-37 0,3-5-13 16,-3 5-44-16,0 0 9 0,0 0-28 0,4 8 2 16,-4-8-35-16,0 15 8 0,-1-5-29 0,1 0 20 15,0 3-24-15,1-1-8 0,-1 2-70 0,1 1-37 16,-1 2-99-16,0 0-38 0,0-1-343 0,0-2-74 16</inkml:trace>
  <inkml:trace contextRef="#ctx0" brushRef="#br0" timeOffset="-25755.91">14155 14252 167 0,'-13'5'352'0,"3"0"-78"0,-1 2-27 15,0-3-49-15,2 0-6 0,0 1-51 0,0 0 7 0,0-2-43 16,3 1 11-16,-1-2-37 0,7-2 15 0,-11 6-21 16,11-6 5-16,-8 5-25 0,8-5 10 0,0 0-23 15,0 0 9-15,0 0-23 0,0 0 8 16,16-1-14-16,-4-1 6 0,4-1-15 0,3-2 12 0,1 2-16 16,1-2 6-16,2 0-8 0,0-1 9 0,0 2-15 15,0-1 4-15,0-2-7 0,-2 1 16 0,0 2-20 16,-2-1 17-16,-1 1-13 0,-4-1 13 0,1 2-11 15,-4-1 14-15,0 2-16 0,-11 2 8 0,13-4-4 16,-13 4 6-16,0 0-12 0,0 0 13 0,0 0-10 16,-15 5 23-16,3-2 8 0,-3 0 3 0,-2 1 10 15,-1 0-1-15,-6 1 15 0,1 0-12 0,-3 0 15 16,1 1-22-16,-1 0 15 0,2-1-24 0,1-1 14 16,0 3-17-16,3-4 14 0,3 1-23 0,-1-1 11 15,5-1-23-15,2 1 20 0,-1 0-20 0,3-1 16 16,9-2-15-16,-14 2 12 0,14-2-15 0,0 0 11 15,0 0-14-15,0 0 15 0,10-4-18 0,-1 1 16 16,2-1-21-16,1 1 24 0,1-1-18 0,1 1 15 0,3-4-18 16,-3 3 18-16,1 0-18 0,-2 1 18 15,0-1-17-15,-3 0 12 0,-1 0-13 0,1 2 19 0,-1-1-15 16,-9 3 20-16,13-4-25 0,-13 4 18 16,9-4-17-16,-9 4 9 0,0 0-70 0,0 0-46 0,-12 2-69 15,6 2-131-15,-3 0-539 0,-1 0-399 16</inkml:trace>
  <inkml:trace contextRef="#ctx0" brushRef="#br0" timeOffset="-4954.61">9461 12723 82 0,'1'-9'305'15,"0"0"-53"-15,-1 1-48 0,-1 1 4 0,1 0-16 16,0 7-62-16,-1-11-3 0,1 11-57 0,0-10 0 16,0 10-12-16,0 0-15 0,0 0-15 0,0 0-8 15,0 0-5-15,0 0-5 0,-3 14-19 0,6-4 33 16,-1 5-5-16,-2 4 31 0,4 5-15 0,0 6 7 16,0 6 21-16,-2 7 19 0,2 5-25 0,0 4 28 15,-3 2-21-15,2 3 3 0,-2 8-9 0,3 4 4 16,-3-2-6-16,0 2 12 0,1 1 14 0,-1 2-14 0,-1 0-21 15,-1 3 12-15,-2-2 9 0,3 2 15 16,-4-3-17-16,0 1 5 0,1-2-24 0,-1-2 12 16,-3 0-13-16,1 1 17 0,0-1-9 0,-1 0-30 0,1 1 19 15,-2 0-25-15,-1-2 15 0,3 0-20 16,-2 1 21-16,-2-2-21 0,2-1 20 0,2-1-9 0,-2-1 18 16,2-2 2-16,-2-8-14 0,2 9 4 15,-1-10-14-15,2 2 7 0,-2-2-15 0,2 1 9 0,-2-1-9 16,3-2 10-16,-1 1-17 0,2-2 12 0,1-3-12 15,-1 0 10-15,1-1-10 0,1 1 8 16,-2-2-4-16,1-1 3 0,-1-1-8 0,-1-4 5 0,3-3-16 16,0-2 14-16,-2 1-12 0,2-1 9 0,1-2-10 15,-3-3 10-15,3-1-8 0,0-3 1 0,-1 0 1 16,1-3-2-16,0-3 3 0,0-1-3 0,0 0 2 16,0-4 1-16,1-1-4 0,-1 1 6 0,0-2-2 15,0 1 1-15,0-2-3 0,0 1 5 0,-1-2-3 16,1 1 3-16,0-1-3 0,0-2 0 0,0 1-1 15,0-1-1-15,0-1 3 0,0 0 0 0,0 1 0 16,0-8 0-16,0 11 0 0,0-3 0 0,0-8-5 16,0 12 7-16,0-12-6 0,0 13 8 0,0-13-3 15,1 12 0-15,-1-12-2 0,1 11 5 0,1-4-2 16,-1-1-2-16,2 0 3 0,-3-6-3 0,3 10 1 16,-3-10-1-16,6 9 2 0,-3-3 1 0,-3-6-8 15,9 9 4-15,-2-6-3 0,-1 1-3 0,1 0-2 16,3-1 3-16,0 1-1 0,0-2-1 0,4 1 4 0,0 2 1 15,3-2-2-15,0 2-2 0,0-2 6 0,4 1 0 16,-2 2-4-16,4-1 8 0,1 0-3 16,-2 1 2-16,6-2-5 0,-1 1 3 0,6 0 3 0,0-1-5 15,6-1 9-15,-2 1-2 0,4-2 10 0,1-1-15 16,8 0 14-16,2 1-14 0,4-1-4 0,1-1 3 16,1 0 0-16,4 0 2 0,2 1-5 0,11 2 3 15,-1-1 1-15,3 2-8 0,-3-1 26 0,3 3-16 16,-2-1 12-16,4 0-14 0,-3 1 13 0,2-1-14 15,-2 1 13-15,3-2-13 0,1 0 12 0,-1 0-13 16,3-1 6-16,-3-2-2 0,4 1 12 0,3-2-13 16,1 0 12-16,2-2-14 0,6 1 12 0,2 0-13 15,0 1 9-15,0-1-16 0,0 0 21 0,2 1-16 16,-2 1 14-16,1 0-16 0,-1 0 15 0,-1 0-12 16,1-1 10-16,-1 2-12 0,-1-2 15 0,-2-2-12 15,0 2 10-15,1 0-8 0,0 0 12 0,-1 0-14 16,2-1 17-16,0 1-8 0,-1 1 10 0,-2-1-19 15,-2 2 16-15,-2-1-12 0,-1 1 9 0,-3 0-11 0,-2 1 11 16,-3-1-15-16,-1 2 8 0,-4-1-7 0,-11-1 7 16,-1 0-16-16,-2-1 15 0,2 0-14 15,-5 1 13-15,1-1-15 0,-1 0 18 0,-3-1-15 0,1 1 15 16,0-1-13-16,-2 1 13 0,0-1-10 0,3 2-6 16,-1-2 7-16,-1 0 13 0,-2 0-16 0,3 0 12 15,0 0-12-15,0 1 10 0,1 0-12 0,-3 1 16 16,-1 0-19-16,2 0 20 0,-3 1-10 0,0 0 11 15,3 1-15-15,-1 0 15 0,-1-1-12 0,1 2 14 16,1-2-14-16,-2 1 21 0,3 2-6 16,-2 0 24-16,0-1-33 0,1 0 37 0,0-1-18 0,1 2 9 15,-2-1-15-15,1 0 27 0,0 0-24 0,-1-1 13 16,2 2-21-16,-5-2 14 0,4 1-24 0,-4 0 20 16,-2-1-21-16,-1-1 14 0,-7 1-22 0,0-2 26 0,-1-1-23 15,-3 1 17-15,1 1-16 0,-7-2 20 0,0 1-22 16,-3-1 18-16,-5-1-19 0,-2 1-4 0,-2-1-80 15,-2 1-59-15,-4-1-71 0,-12 0-26 0,16 1-71 16,-16-1-126-16,0 0-511 0,0 0-538 0</inkml:trace>
  <inkml:trace contextRef="#ctx0" brushRef="#br0" timeOffset="4987.73">12904 14559 297 0,'0'0'256'0,"-7"5"-83"0,7-5 8 0,0 0-42 15,0 0 17-15,0 0-60 0,5 7 20 0,-5-7-19 16,18 1 19-16,-4-1-24 0,5 0 25 0,3 0-15 16,6-2 5-16,8 1-30 0,11-3 8 0,3-1-24 15,3-1 5-15,4 0 1 0,12-2-3 0,5-2-14 0,3 0-8 16,2 0-8-16,3-1-4 0,1-1 10 0,3 0 8 15,-2-1-17-15,-1 1 7 0,3 0-8 16,-2-3-6-16,-2 5-6 0,-4-1 2 0,-2-1-11 0,-5 2 7 16,-5 0-6-16,-11 4 1 0,-5-2 0 0,0 1-2 15,-8 1-10-15,-4 2 10 0,-6-3-12 0,-6 5 7 16,-4-2-5-16,-3 2 3 0,-4 0-6 16,0 0 3-16,-15 2-5 0,17-1 8 0,-17 1-8 0,0 0-5 15,0 0-1-15,-9 5-2 0,-3-3 3 0,-5 1-2 16,-8-1 3-16,0 3 1 0,-10 0 2 0,1-2-2 15,-5 2 2-15,-4 1-4 0,-6 1 1 0,1-1-10 16,-1 0 1-16,-2-1-9 0,0 1 19 0,-3 0-14 16,2 0 9-16,-3 0-6 0,4 0 17 0,0 0-12 15,0-1 14-15,5 0-12 0,7-1 15 0,1 0-14 16,9 0 5-16,3-2 2 0,2 2 1 0,2-3 2 16,5 0 5-16,2 1 3 0,2-1-3 0,13-1 0 15,-15 0 1-15,15 0 3 0,0 0 9 0,0 0-2 16,6-5 17-16,7 3-11 0,3-1 3 0,5-1-7 0,5 0-5 15,6-1-3-15,2 1 3 0,5-2-3 16,5 0-4-16,2 0 1 0,1 0 4 0,1-1-7 16,0 1 1-16,-1 1-3 0,-2-1-1 0,-6 2-36 0,-5 2-23 15,-4 0-81-15,-2 1-22 0,-8 1-31 16,-1 0-38-16,-2 1-35 0,-5 0-8 0,0 0-182 0,-12-1 64 16</inkml:trace>
  <inkml:trace contextRef="#ctx0" brushRef="#br0" timeOffset="5423.91">14179 14407 265 0,'0'0'289'16,"-4"-5"-30"-16,4 5-26 0,0 0-64 0,-5-6-30 15,5 6-34-15,0 0-46 0,0 0 16 0,0 0-36 16,-1 6 65-16,1-6-13 0,0 12 18 0,1-4-18 15,-1 3 20-15,1 1-8 0,2 5 8 0,-2 1-4 16,2 3-13-16,-2 5-1 0,3 0-6 0,0 7 1 16,-2 0-16-16,1 2 10 0,1 7-28 0,-2 2 10 15,2 0-10-15,1 1 8 0,3 2-21 0,-3 1 13 16,0 0-16-16,0 2 15 0,0 2-26 0,2 2 14 16,-2 0-18-16,0 12 13 0,-1-9-17 0,-2 8 7 15,2 2 1-15,-1-11-2 0,1 10-1 0,-2-10 15 16,3 10-18-16,-1 0 18 0,0 0-27 0,1 1 16 0,0-2-19 15,1 2-4-15,2-3 3 0,-2 3 1 0,1-4 0 16,1 2-2-16,-2-2 4 0,3 1 2 0,-2 0 2 16,3-2 17-16,0 2-17 0,-3-2-5 0,1-8-1 15,-3-1-12-15,5-2 15 0,-3-3-14 0,-1 0 8 16,1-5-10-16,-4-2 11 0,2-6-11 0,-1-2 14 16,0-7-15-16,-1 0 16 0,-1-3-15 0,-2-3 15 15,3-2-11-15,-2-1 14 0,0-4-8 0,1-1 11 16,-1-1-11-16,0-2-45 0,-1-3-106 0,0 1-29 15,0-7-77-15,-2 9-101 0,2-9-99 0,0 0-371 0,0 0-355 16</inkml:trace>
  <inkml:trace contextRef="#ctx0" brushRef="#br0" timeOffset="5760.91">14073 16750 294 0,'-7'13'389'15,"4"1"-66"-15,-2 4-15 0,2 2-64 0,4 2 35 0,4 4-63 16,2 4 29-16,2 0-50 0,7 5 28 0,1 1-26 16,3 0 17-16,5-2-35 0,-1 1-14 0,4-3-27 15,2 0-17-15,2-3-19 0,1-2-6 0,0-3-12 16,4-1 6-16,-1-4-9 0,-2-2 0 0,-2-6-3 15,0-2-6-15,0-2-11 0,-4-5-5 0,2-3-8 16,2-4-3-16,-1-4-15 0,0-2 4 0,1-5-8 16,0-3 3-16,-4-6-7 0,-1-2-4 0,-3-3-3 15,-4-3-8-15,-1 0 0 0,-4-2-1 0,0 0 0 16,-4 5 11-16,-4 2-62 0,1-1 0 0,-4 5-21 16,0 2-26-16,-3 3-28 0,0 2-66 0,-1 4-53 15,0 2-14-15,-2 3-24 0,-2 2-45 0,4 6-38 16,-13-4-56-16,13 4-352 0,-14 4-283 0</inkml:trace>
  <inkml:trace contextRef="#ctx0" brushRef="#br0" timeOffset="7836.74">14674 17637 256 0,'0'0'326'15,"0"0"-43"-15,-13-1-40 0,13 1-4 0,-9 3-39 0,9-3 11 16,-12 9-26-16,9-5 18 0,-3 2-69 0,3 3 28 16,-1-1-41-16,0 1 39 0,1 1-49 0,1 1 28 15,-1 0-44-15,3 1-9 0,3 0-16 0,-1 0 1 16,2 1-8-16,4-1 0 0,0 2-23 0,4-1-1 15,0 1-7-15,4-2-5 0,-3 0-6 0,6-1 0 16,-3-2-1-16,3-1-4 0,-2-1-1 0,-2-4 0 0,0 1-2 16,-1-2 0-16,-1-2-1 0,1-2-9 0,-1-2-25 15,-3-2-15-15,1-1-8 0,-3-2-9 0,0-3 21 16,-4 1-39-16,-3-1 32 0,-1-1-15 0,-1 0 39 16,-2-1-29-16,-2 1 38 0,-1 0-31 0,-3 2 42 15,-3 1-33-15,-1 0 48 0,-1 3-13 0,2 1 62 16,-5 3 4-16,4 2 33 0,0 2 4 0,-2 4 18 0,1 2 13 15,-3 5 17-15,5 1-16 0,-2 4 6 0,2 0 5 16,4 3-17-16,-2 1-5 0,5 0-6 0,1 1-9 16,2-3-22-16,2 2-12 0,1-1-13 0,1 2-14 15,4 0-6-15,0-1-8 0,4-1-9 0,-1-1-5 16,3 1-1-16,2-3-24 0,-1 0-91 0,2-1-55 16,0-3-27-16,0-1-28 0,2-1-44 0,-3-2-16 0,-1-5-22 15,2 0 11-15,-2-3-4 0,-1-1-11 16,2-2-1-16,-3-3-4 0,1-3-18 0,-1 0 61 0,-1-4 11 15,3-2 81-15,-1-3 11 0,-2-1 87 0,5-5 62 16,-3 0 25-16,3-1 54 0,-1 1 18 0,5-1 22 16,-2 3 16-16,2 2 37 0,0 1-67 0,-1 4 21 15,0 4-57-15,0 2 19 0,0 4-22 0,2 2 37 0,-3 4-49 16,2 1 38-16,-1 5-40 0,1 1 1 16,0 3-2-16,-3 3-11 0,-1-1-7 0,-4 1-7 0,1 1-3 15,-3 2 1-15,-3-3 8 0,-2 0 1 0,-1 0-5 16,-1-2 12-16,-4-1 17 0,0 0-12 15,0-2-1-15,-1-1-2 0,-2-1-9 0,3-1-6 0,-2-1 1 16,4-6 0-16,-8 7-12 0,8-7 1 0,0 0-6 16,0 0-2-16,-8-5-1 0,8 5-3 0,2-10-22 0,-1 3-3 15,2-2-3-15,-1 0-20 0,7-2-2 16,-1-2 2-16,-1 0 4 0,5-3-6 0,1-1 7 0,0-1 2 16,3-1 2-16,1 0 28 0,1 0-36 0,-3-1 33 15,4 1-33-15,0 1 35 0,-1 1-31 0,-1 4 37 16,-2 0-32-16,2 1 33 0,-3 2-37 0,0 1 35 15,-4 4-33-15,2 2 34 0,-2 0-24 0,-10 3 31 16,15 3-31-16,-7 0 35 0,-2 4-15 0,-1 2 12 16,-2 1 24-16,-1 3 11 0,0 2-1 0,-2 1-6 0,0 2 10 15,-3 0-3-15,2 0-5 0,-2-1-6 0,1 1 7 16,-1 1-2-16,3-3-7 0,-2 1-7 0,2-2 9 16,-2-2 9-16,2 0-9 0,0-1-4 0,0-1-5 15,0-2 2-15,3 0-3 0,-2-2-2 0,3-2-3 16,0 0-6-16,-4-5 0 0,10 5 0 0,-10-5-4 15,17-1 1-15,-10-3-5 0,1-1 4 0,2-2-5 16,-1-3 0-16,0 0 1 0,-1-3 3 0,-1-1-6 16,0 0-3-16,-2-3 2 0,0 0 4 0,3-2-2 0,-6 1 0 15,2 0 2-15,-3 0 13 0,1 1-4 0,-2 0 11 16,0 1-11-16,-3 2 28 0,-1 0-16 0,2-1 0 16,-5 2-12-16,1 0 7 0,0 1-11 0,-2 2 4 15,-1 0-11-15,3 2 10 0,-1 0-9 0,1 2 5 16,-1-1-14-16,1 2 11 0,2 0-9 0,-1 0 4 0,5 5-9 15,-9-7 8-15,9 7-5 0,-5-5 8 0,5 5-10 16,-8-3-8-16,8 3-7 0,0 0-3 0,-5-4-14 16,5 4 11-16,0 0-18 0,0 0 10 0,0 0-20 15,0 0 10-15,0 0-16 0,0 0 13 0,0 0 5 16,0 0 8-16,0 0-25 0,0 0 13 0,7 4-38 0,-7-4 14 16,0 0-58-16,0 0 24 0,10 2-33 15,-10-2 28-15,0 0-45 0,6 4 18 0,-6-4-40 0,4 4-16 16,-4-4-25-16,3 7-6 0,-3-7 17 0,2 7 4 15,-2-7 21-15,0 7 29 0,0-7 24 0,0 7 17 16,0-7 35-16,-1 7 39 0,1-7 41 0,0 6 35 16,0-6 33-16,0 8 27 0,0-8 41 0,1 9 0 15,-1-9-5-15,2 12 6 0,-1-2-8 0,0 1 30 16,2 1-19-16,0 2-14 0,0 3-4 0,1-1-6 0,-2 2-4 16,2 0-15-16,-1 1-5 0,-1 0-3 0,1 0-14 15,-2 0-4-15,-1-1-6 0,0 0 2 0,-1-1-10 16,-2-1 1-16,1-1 4 0,-1-2 4 0,-2-1-3 15,1-2-3-15,0 0-13 0,-3-3-4 0,2-1 3 16,-1-3-4-16,6-3-4 0,-10 4-11 0,10-4-4 16,-11-4-2-16,11 4-4 0,-8-12-6 0,6 3-2 15,0-2 2-15,2-1-6 0,0-1-9 0,3-3-1 0,2-2-6 16,0-1-11-16,5 0-3 0,-1-2 4 0,3 0-5 16,3-2 15-16,-1 1-30 0,5 1 13 0,-2 0-37 15,1 2-4-15,2 1-39 0,-2 0 14 0,3 2-39 16,-6 4 40-16,4-1-51 0,0 2 23 0,-1 2-32 15,-4 0 14-15,2 2-25 0,-1 1 4 0,-2 0-20 16,1 1-2-16,-3 3-5 0,0 0 8 0,1-1 29 0,-2 0 25 16,1 0 20-16,0 1 20 0,-1-2 31 15,1 3 33-15,0-1 33 0,-2-1 44 0,0 1 33 0,1-2 35 16,-10 4 0-16,13-5 32 0,-13 5-39 0,13-3 33 16,-13 3-55-16,11-4 16 0,-11 4-71 0,0 0 30 15,11-2-56-15,-11 2 54 0,0 0-23 0,2 9 42 16,-2-9-50-16,-4 13 48 0,2-4-45 0,-3 2 60 0,1 2-30 15,-1 1 30-15,-3 2-35 0,4 0 45 16,0 1-13-16,2-1-7 0,-1 2-11 0,3-1-5 0,-1 1-10 16,1-1-11-16,1-2 1 0,2 2-1 0,1-2-7 15,-1-1-2-15,4 0 1 0,-1-3 0 0,2 0-8 16,-2-1-4-16,2-2-5 0,1-2-2 0,0 0-7 16,-1-2-4-16,-8-4-1 0,16 1-1 0,-16-1-3 15,16-3-4-15,-8-4 2 0,-4 1-3 0,1-3 1 16,-1-1-3-16,-1-2 0 0,-3-1 8 0,0 0-13 0,-3-3 7 15,1 0-12-15,-2 1 12 0,-3-1-23 16,0 1-37-16,-2-1-43 0,-2 2-22 0,-2-1-57 0,2 4 21 16,2 0-44-16,-2 1 17 0,1 0-52 0,-1 3-15 15,0-1-45-15,3 2-58 0,-1-1-330 0,0 2-187 16</inkml:trace>
  <inkml:trace contextRef="#ctx0" brushRef="#br0" timeOffset="8100.73">16288 17599 67 0,'20'0'490'0,"-3"3"-70"0,2 1-91 0,0-1 3 16,2 5-82-16,-1 4 19 0,-1 0-70 0,0 3 13 16,-1 2-44-16,0 2 3 0,-6-1-42 0,-1 1 4 15,-2-1-3-15,-1 1-17 0,-4-1-8 0,-1 0-12 16,-1-1-7-16,-4-1-9 0,2-2-6 0,-3-1 0 0,1-1-1 16,1 0 6-16,0-4 26 0,0 2 17 15,-1-5-26-15,2-5-18 0,-4 10-15 0,4-10-10 0,0 0-16 16,0 0-4-16,0 0-7 0,6-10-3 0,-1 2-7 15,2-3-3-15,2-1-10 0,0-2-24 0,5-2-20 16,0 1-6-16,0-1-10 0,3 0-17 0,2-1-26 16,0 2-44-16,4 0 0 0,-1 0-51 0,-2 4 19 15,0 0-27-15,0 2-30 0,-2 0-69 0,1 2-45 16,0 1-75-16,-3 1-252 0,-1 0-184 0</inkml:trace>
  <inkml:trace contextRef="#ctx0" brushRef="#br0" timeOffset="8229.8">16951 17703 341 0,'0'0'538'0,"4"5"-133"0,-4-5-35 0,0 0-86 16,0 0-8-16,11 0-93 0,-11 0 14 0,13-3-26 16,-3 1-5-16,1 0-49 0,0-1-7 0,3 1-31 15,3-1-11-15,1 1-44 0,1-1-47 0,-1 2-89 0,1 0-34 16,-4 1-123-16,2 0-92 0,-2 1-406 0,-1 0-283 16</inkml:trace>
  <inkml:trace contextRef="#ctx0" brushRef="#br0" timeOffset="8383.92">17049 17851 419 0,'-15'8'508'0,"2"-2"9"0,3 0-40 0,1-1 11 0,4-2-76 16,5-3-61-16,-8 4-68 0,8-4-41 0,0 0-42 15,0 0-40-15,11-1-32 0,-11 1-20 0,21-3-24 16,-3 1-18-16,1 1-15 0,-1-1-45 0,5 1-58 0,0 0-70 16,0 0-88-16,-1 1-26 0,2 0-84 0,-1-1-87 15,-1 0-110-15,-2-1-315 0,2 0-371 0</inkml:trace>
  <inkml:trace contextRef="#ctx0" brushRef="#br0" timeOffset="8965.92">17679 17533 378 0,'-12'1'366'0,"1"2"-62"0,2 3-3 0,-1 4-70 16,-1 0 30-16,-1 5-57 0,-3 1 29 16,2 1-55-16,3 2 22 0,-3 0-41 0,4 0 36 15,3 0-14-15,1 2-11 0,2-2 9 0,3-2-22 0,1 2-2 16,3-2-6-16,3 1-13 0,3-1 3 0,3-3 8 16,1-2-23-16,2-4-21 0,0-2-1 0,3-2-18 15,0-3 7-15,3-3-28 0,2-4 9 0,0 0-26 16,1-6 1-16,0-4-23 0,-2-2-6 0,0-1-7 15,-5-3 6-15,0 0-7 0,-4-3 2 0,-1 0-7 16,-6 4 7-16,1-1-9 0,-5 1 3 0,-2 2 0 0,-2 1 0 16,-3 1-10-16,-3 1-75 0,0 3-49 0,-6 0-23 15,0 5-67-15,-5 2-60 0,2 1-83 0,-5 5-36 16,-3 1-110-16,0 3-481 0,-7 2-585 0</inkml:trace>
  <inkml:trace contextRef="#ctx0" brushRef="#br0" timeOffset="9180.92">17166 18247 730 0,'-5'7'781'0,"1"-1"-46"0,4-6-122 0,-3 7-46 0,3-7-132 15,7 4-51-15,-7-4-98 0,16 0-22 0,-4 0-76 16,4 0-31-16,2-2-33 0,1 2-24 0,4 2-64 15,-1-1-93-15,4 1-120 0,-1 3-137 0,-2 0-63 0,-1 2-149 16,0-1-720-16,-3 3-856 0</inkml:trace>
  <inkml:trace contextRef="#ctx0" brushRef="#br0" timeOffset="9326.92">17152 18656 174 0,'0'0'714'16,"-9"-1"-80"-16,9 1-87 0,7-11-94 0,6 2-13 0,10-4-116 15,9-2-34-15,8-2-29 0,3-1-25 0,1 0-45 16,3 1-41-16,0 0-46 0,-1 2-87 0,0-1-105 16,-1 2-184-16,-3 1-63 0,-1 0-248 0,-5 5-433 15,-4-2-624-1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2:18.393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33 27 1360 0 0,'-14'-25'11364'0'0,"12"23"-11040"0"0,0 3-190 0 0,1 0 0 0 0,1-1 1 0 0,-1 1-1 0 0,0 0 1 0 0,0 0-1 0 0,0 0 0 0 0,0 0 1 0 0,0 0-1 0 0,1 0 1 0 0,-1 0-1 0 0,0 0 0 0 0,1 0 1 0 0,-1 0-1 0 0,1 0 1 0 0,-1 0-1 0 0,1 0 0 0 0,-1 2 1 0 0,-35 85 2813 0 0,-28 59-292 0 0,6-37-1427 0 0,-6-2 0 0 0,-130 168 0 0 0,191-272-1297 0 0,-47 57-1377 0 0,16-28-2748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2:18.76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43 0 344 0 0,'-4'2'2004'0'0,"-4"2"-1383"0"0,0 0-1 0 0,0 0 1 0 0,1 1 0 0 0,-1 1 0 0 0,1-1 0 0 0,0 1 0 0 0,1 1 0 0 0,-1-1 0 0 0,1 1 0 0 0,0 0 0 0 0,1 0 0 0 0,0 1 0 0 0,0-1 0 0 0,1 1 0 0 0,0 0 0 0 0,-6 17 0 0 0,4-11-203 0 0,1 1 0 0 0,1 0 0 0 0,0 0-1 0 0,1 1 1 0 0,1-1 0 0 0,0 1 0 0 0,1 0 0 0 0,1-1 0 0 0,2 21 0 0 0,-1-25-244 0 0,1-1 0 0 0,0 1 0 0 0,1-1 0 0 0,1 0 0 0 0,-1 0-1 0 0,1 0 1 0 0,1 0 0 0 0,10 17 0 0 0,-10-21-126 0 0,-1 0 1 0 0,1 0-1 0 0,1-1 0 0 0,-1 1 0 0 0,1-1 0 0 0,0 0 1 0 0,0-1-1 0 0,1 1 0 0 0,-1-1 0 0 0,1-1 0 0 0,0 1 1 0 0,0-1-1 0 0,8 3 0 0 0,-2-3-6 0 0,0 0-1 0 0,1 0 1 0 0,0-1-1 0 0,0-1 1 0 0,-1-1-1 0 0,1 0 1 0 0,0 0-1 0 0,0-1 1 0 0,0-1 0 0 0,-1 0-1 0 0,18-6 1 0 0,-7 0-317 0 0,1 0 0 0 0,-2-2 0 0 0,1 0 0 0 0,-1-2 0 0 0,24-16 0 0 0,-10 9-5534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2:19.67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41 17 512 0 0,'-20'-17'8746'0'0,"18"17"-8347"0"0,-8 2 373 0 0,10-1-689 0 0,-1-1 1 0 0,0 1-1 0 0,1 0 1 0 0,-1-1-1 0 0,0 1 1 0 0,1 0-1 0 0,-1 0 0 0 0,1-1 1 0 0,-1 1-1 0 0,1 0 1 0 0,0 0-1 0 0,-1 0 1 0 0,1 0-1 0 0,0 0 0 0 0,-1 0 1 0 0,1 0-1 0 0,0 0 1 0 0,0-1-1 0 0,0 1 1 0 0,0 2-1 0 0,-1 13 509 0 0,1-5-342 0 0,0-1 0 0 0,1 1 0 0 0,1 0-1 0 0,-1 0 1 0 0,2-1 0 0 0,-1 1 0 0 0,1-1 0 0 0,1 0 0 0 0,8 18-1 0 0,-3-11 10 0 0,1 0 1 0 0,0-1-1 0 0,1 0 0 0 0,20 21 0 0 0,-24-29-154 0 0,1-1 0 0 0,0 0 0 0 0,1 0 0 0 0,-1-1 0 0 0,1 0 1 0 0,0-1-1 0 0,1 0 0 0 0,-1 0 0 0 0,1-1 0 0 0,0 0 0 0 0,0 0 0 0 0,0-2 0 0 0,1 1 0 0 0,-1-1 1 0 0,1 0-1 0 0,-1-1 0 0 0,1-1 0 0 0,0 1 0 0 0,-1-2 0 0 0,12-1 0 0 0,9-2 41 0 0,0-3-1 0 0,0 0 1 0 0,-1-2-1 0 0,0-1 1 0 0,42-21-1 0 0,-6 3-68 0 0,51-25-86 0 0,-114 51-177 0 0,0 0 0 0 0,0 1-1 0 0,0-1 1 0 0,0 1 0 0 0,0 0 0 0 0,0 0 0 0 0,0 0-1 0 0,1 1 1 0 0,-1-1 0 0 0,0 1 0 0 0,1-1-1 0 0,-1 1 1 0 0,0 0 0 0 0,0 0 0 0 0,1 1 0 0 0,-1-1-1 0 0,0 1 1 0 0,5 1 0 0 0,-5 9-1886 0 0,-4-4 1224 0 0,1 0 0 0 0,-1 0-1 0 0,0-1 1 0 0,-1 1 0 0 0,1 0-1 0 0,-1-1 1 0 0,-1 1 0 0 0,-5 11 0 0 0,-6 10-3219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2:20.089"/>
    </inkml:context>
    <inkml:brush xml:id="br0">
      <inkml:brushProperty name="width" value="0.2" units="cm"/>
      <inkml:brushProperty name="height" value="0.2" units="cm"/>
    </inkml:brush>
  </inkml:definitions>
  <inkml:trace contextRef="#ctx0" brushRef="#br0">158 1 1676 0 0,'-41'99'8189'0'0,"21"-54"-5381"0"0,-27 96 0 0 0,32-82-1519 0 0,-12 54 708 0 0,24-94-1496 0 0,1 0 1 0 0,0 0 0 0 0,2 37-1 0 0,0-53-423 0 0,0-1 1 0 0,1 1-1 0 0,-1 0 0 0 0,1 0 0 0 0,0 0 0 0 0,0-1 0 0 0,0 1 0 0 0,0 0 1 0 0,1-1-1 0 0,-1 1 0 0 0,0-1 0 0 0,1 1 0 0 0,0-1 0 0 0,0 0 0 0 0,0 0 1 0 0,2 2-1 0 0,-1-1-6 0 0,1 0 0 0 0,0 0 0 0 0,0-1 1 0 0,1 1-1 0 0,-1-1 0 0 0,0 0 0 0 0,1-1 0 0 0,8 3 1 0 0,6 0-44 0 0,0-2-1 0 0,0 0 1 0 0,35-2 0 0 0,-36 0-81 0 0,26 0-1155 0 0,39 0-3216 0 0,-65-1 1241 0 0,0-1 0 0 0,27-7 0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2:21.285"/>
    </inkml:context>
    <inkml:brush xml:id="br0">
      <inkml:brushProperty name="width" value="0.2" units="cm"/>
      <inkml:brushProperty name="height" value="0.2" units="cm"/>
    </inkml:brush>
  </inkml:definitions>
  <inkml:trace contextRef="#ctx0" brushRef="#br0">56 260 1012 0 0,'25'-19'9115'0'0,"-23"21"-8815"0"0,-1 0-1 0 0,1 0 1 0 0,-1 0 0 0 0,0 0-1 0 0,0 1 1 0 0,0-1 0 0 0,0 0 0 0 0,0 1-1 0 0,-1-1 1 0 0,1 1 0 0 0,-1-1-1 0 0,1 1 1 0 0,-1-1 0 0 0,0 4 0 0 0,-1 46 1945 0 0,0-27-1203 0 0,0 28-383 0 0,-3 1 1 0 0,-3-1 0 0 0,-1 0 0 0 0,-3 0 0 0 0,-19 53 0 0 0,19-81-479 0 0,11-25-177 0 0,0 1 0 0 0,-1-1-1 0 0,1 1 1 0 0,0-1 0 0 0,-1 0 0 0 0,1 1 0 0 0,0-1 0 0 0,-1 1 0 0 0,1-1-1 0 0,-1 0 1 0 0,1 1 0 0 0,-1-1 0 0 0,1 0 0 0 0,-1 0 0 0 0,1 1-1 0 0,-1-1 1 0 0,1 0 0 0 0,-1 0 0 0 0,1 0 0 0 0,-1 0 0 0 0,1 0 0 0 0,-1 0-1 0 0,1 0 1 0 0,-1 0 0 0 0,1 0 0 0 0,-1 0 0 0 0,0 0 0 0 0,1 0-1 0 0,-1 0 1 0 0,1 0 0 0 0,-1 0 0 0 0,1 0 0 0 0,-1-1 0 0 0,-2-4 21 0 0,3-13-98 0 0,0 0 0 0 0,1 0 0 0 0,1 0 0 0 0,0 0-1 0 0,2 1 1 0 0,10-33 0 0 0,1 5-282 0 0,33-64 1 0 0,-28 70 264 0 0,2 0 1 0 0,2 2-1 0 0,1 0 0 0 0,2 2 1 0 0,1 1-1 0 0,2 1 1 0 0,1 1-1 0 0,2 2 1 0 0,1 1-1 0 0,54-35 1 0 0,-80 59 70 0 0,0 1-1 0 0,0 0 1 0 0,1 0 0 0 0,-1 1-1 0 0,1 0 1 0 0,-1 0 0 0 0,1 1-1 0 0,0 0 1 0 0,11-1 0 0 0,-17 3 14 0 0,0 0 0 0 0,0 0 0 0 0,0 0 0 0 0,-1 1 0 0 0,1-1 0 0 0,0 0 0 0 0,0 1 0 0 0,0 0 0 0 0,0 0 0 0 0,0 0 0 0 0,-1 0 0 0 0,1 0 0 0 0,0 1 0 0 0,-1-1 0 0 0,1 1 0 0 0,-1-1 0 0 0,0 1 0 0 0,1 0 0 0 0,-1 0 0 0 0,0 0 0 0 0,0 0 0 0 0,0 1 0 0 0,-1-1 0 0 0,1 0 0 0 0,0 1 0 0 0,-1-1 0 0 0,0 1-1 0 0,1 0 1 0 0,-1-1 0 0 0,0 1 0 0 0,1 4 0 0 0,-1-1 5 0 0,0-1 0 0 0,-1 1 0 0 0,1 0 0 0 0,-1 0 0 0 0,0-1 0 0 0,-1 1 0 0 0,1 0 0 0 0,-1 0 0 0 0,0-1 0 0 0,-1 1 0 0 0,1 0 0 0 0,-1-1 0 0 0,0 0 0 0 0,-1 1 0 0 0,-2 4 0 0 0,-5 7-45 0 0,0 0-1 0 0,-1-1 1 0 0,-15 17-1 0 0,1-6-28 0 0,-1-2 0 0 0,-2-1 0 0 0,-49 34 0 0 0,-31 26-62 0 0,107-83 168 0 0,0 0 0 0 0,-1 1 0 0 0,1-1 1 0 0,0 1-1 0 0,-1-1 0 0 0,1 1 0 0 0,0-1 1 0 0,0 1-1 0 0,0 0 0 0 0,1-1 0 0 0,-1 1 1 0 0,0 0-1 0 0,0 0 0 0 0,1 0 0 0 0,0 0 1 0 0,-1-1-1 0 0,1 1 0 0 0,0 0 0 0 0,0 4 1 0 0,0-3 9 0 0,1 0 1 0 0,-1 0-1 0 0,1-1 1 0 0,0 1-1 0 0,0 0 1 0 0,0 0-1 0 0,1 0 1 0 0,-1-1-1 0 0,1 1 1 0 0,0 0-1 0 0,2 2 1 0 0,5 5 41 0 0,0 0 1 0 0,1-1 0 0 0,1 0 0 0 0,14 10 0 0 0,40 23 113 0 0,-40-27-1057 0 0,0 1-1 0 0,43 38 1 0 0,-57-39-848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9-25T11:06:38.148"/>
    </inkml:context>
    <inkml:brush xml:id="br0">
      <inkml:brushProperty name="width" value="0.2" units="cm"/>
      <inkml:brushProperty name="height" value="0.2" units="cm"/>
    </inkml:brush>
  </inkml:definitions>
  <inkml:trace contextRef="#ctx0" brushRef="#br0">39 16 556 0 0,'-24'-15'10033'0'0,"22"16"-9685"0"0,1-1-311 0 0,0 0-1 0 0,1 0 1 0 0,-1 0 0 0 0,1 0-1 0 0,-1 0 1 0 0,0 1-1 0 0,1-1 1 0 0,-1 0 0 0 0,1 1-1 0 0,-1-1 1 0 0,1 0 0 0 0,-1 1-1 0 0,1-1 1 0 0,-1 0 0 0 0,1 1-1 0 0,0-1 1 0 0,-1 1-1 0 0,1-1 1 0 0,-1 1 0 0 0,1-1-1 0 0,0 1 1 0 0,-1 0 0 0 0,0 20 855 0 0,38 282 4003 0 0,-33-247-4442 0 0,56 484 2180 0 0,-56-518-2582 0 0,26 111 261 0 0,-27-121-269 0 0,2 1 1 0 0,0-1-1 0 0,0 0 1 0 0,1 0 0 0 0,1-1-1 0 0,-1 1 1 0 0,2-1-1 0 0,9 10 1 0 0,-11-15-21 0 0,1 0 0 0 0,0 0 1 0 0,0-1-1 0 0,0 0 0 0 0,0-1 1 0 0,1 1-1 0 0,0-1 0 0 0,0-1 0 0 0,0 0 1 0 0,0 0-1 0 0,1 0 0 0 0,-1-1 0 0 0,1-1 1 0 0,-1 1-1 0 0,1-1 0 0 0,0-1 0 0 0,0 1 1 0 0,-1-1-1 0 0,12-2 0 0 0,15-3 63 0 0,-1-1-1 0 0,0-2 1 0 0,46-16 0 0 0,-75 22-83 0 0,392-146 233 0 0,-147 50-214 0 0,466-149-39 0 0,-406 146-2365 0 0,-291 96 589 0 0,0 0-1 0 0,38-4 1 0 0,-56 9 1691 0 0,-1 0 1 0 0,1 0-1 0 0,-1 0 1 0 0,1 0-1 0 0,-1 0 1 0 0,1 0-1 0 0,-1 0 1 0 0,1 0-1 0 0,-1 0 1 0 0,1 0-1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0" name="Google Shape;8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p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8" name="Google Shape;298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4" name="Google Shape;30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1" name="Google Shape;311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7" name="Google Shape;317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35" name="Google Shape;335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47" name="Google Shape;347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32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6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55" name="Google Shape;355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6" name="Google Shape;356;p33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7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63" name="Google Shape;363;p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4" name="Google Shape;364;p34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8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71" name="Google Shape;371;p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2" name="Google Shape;372;p35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19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79" name="Google Shape;379;p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0" name="Google Shape;380;p36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20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5" name="Google Shape;8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Google Shape;386;p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7" name="Google Shape;387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4" name="Google Shape;21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220" name="Google Shape;220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1" name="Google Shape;221;p15:notes"/>
          <p:cNvSpPr txBox="1">
            <a:spLocks noGrp="1"/>
          </p:cNvSpPr>
          <p:nvPr>
            <p:ph type="sldNum" idx="12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/>
              <a:t>4</a:t>
            </a:fld>
            <a:endParaRPr sz="14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8" name="Google Shape;228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34" name="Google Shape;23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40" name="Google Shape;24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46" name="Google Shape;246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2" name="Google Shape;252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9"/>
          <p:cNvSpPr txBox="1"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20" name="Google Shape;20;p39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8888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ctr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888888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R="0"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R="0" lvl="3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R="0" lvl="4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R="0"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Google Shape;21;p39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39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39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44"/>
          <p:cNvSpPr txBox="1">
            <a:spLocks noGrp="1"/>
          </p:cNvSpPr>
          <p:nvPr>
            <p:ph type="title"/>
          </p:nvPr>
        </p:nvSpPr>
        <p:spPr>
          <a:xfrm rot="5400000">
            <a:off x="7285037" y="1828802"/>
            <a:ext cx="585152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26" name="Google Shape;26;p44"/>
          <p:cNvSpPr txBox="1">
            <a:spLocks noGrp="1"/>
          </p:cNvSpPr>
          <p:nvPr>
            <p:ph type="body" idx="1"/>
          </p:nvPr>
        </p:nvSpPr>
        <p:spPr>
          <a:xfrm rot="5400000">
            <a:off x="1697037" y="-812799"/>
            <a:ext cx="5851525" cy="8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44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44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44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32" name="Google Shape;32;p45"/>
          <p:cNvSpPr txBox="1">
            <a:spLocks noGrp="1"/>
          </p:cNvSpPr>
          <p:nvPr>
            <p:ph type="body" idx="1"/>
          </p:nvPr>
        </p:nvSpPr>
        <p:spPr>
          <a:xfrm rot="5400000">
            <a:off x="3833019" y="-1623219"/>
            <a:ext cx="4525962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Google Shape;33;p45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45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45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46"/>
          <p:cNvSpPr txBox="1"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38" name="Google Shape;38;p46"/>
          <p:cNvSpPr txBox="1">
            <a:spLocks noGrp="1"/>
          </p:cNvSpPr>
          <p:nvPr>
            <p:ph type="body"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46"/>
          <p:cNvSpPr txBox="1">
            <a:spLocks noGrp="1"/>
          </p:cNvSpPr>
          <p:nvPr>
            <p:ph type="body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46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46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46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47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45" name="Google Shape;45;p47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47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47"/>
          <p:cNvSpPr txBox="1">
            <a:spLocks noGrp="1"/>
          </p:cNvSpPr>
          <p:nvPr>
            <p:ph type="body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47"/>
          <p:cNvSpPr txBox="1">
            <a:spLocks noGrp="1"/>
          </p:cNvSpPr>
          <p:nvPr>
            <p:ph type="body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Google Shape;49;p47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Google Shape;50;p47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Google Shape;51;p47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41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62" name="Google Shape;62;p4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" name="Google Shape;63;p41"/>
          <p:cNvSpPr txBox="1">
            <a:spLocks noGrp="1"/>
          </p:cNvSpPr>
          <p:nvPr>
            <p:ph type="ftr" idx="11"/>
          </p:nvPr>
        </p:nvSpPr>
        <p:spPr>
          <a:xfrm>
            <a:off x="4165600" y="647700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Google Shape;64;p41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3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43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Google Shape;77;p43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30A196-2297-42A4-BA44-6CCA6F288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345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30A196-2297-42A4-BA44-6CCA6F2885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8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11" name="Google Shape;11;p38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8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8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38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5;p38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8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" name="Google Shape;17;p38" descr="E:\Brand &amp; all that\Greatlearning Logo\Greatlearning Logo.jpg"/>
          <p:cNvPicPr preferRelativeResize="0"/>
          <p:nvPr/>
        </p:nvPicPr>
        <p:blipFill rotWithShape="1">
          <a:blip r:embed="rId10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3800A3-234E-4519-A56D-580267A984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847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3800A3-234E-4519-A56D-580267A984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Google Shape;53;p40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40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5" name="Google Shape;55;p40" descr="E:\Brand &amp; all that\Greatlearning Logo\Greatlearning Logo.jpg"/>
          <p:cNvPicPr preferRelativeResize="0"/>
          <p:nvPr/>
        </p:nvPicPr>
        <p:blipFill rotWithShape="1">
          <a:blip r:embed="rId6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56;p40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57" name="Google Shape;57;p4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40"/>
          <p:cNvSpPr txBox="1">
            <a:spLocks noGrp="1"/>
          </p:cNvSpPr>
          <p:nvPr>
            <p:ph type="ftr" idx="11"/>
          </p:nvPr>
        </p:nvSpPr>
        <p:spPr>
          <a:xfrm>
            <a:off x="4165600" y="647700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Google Shape;59;p40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252A81-FC6B-4553-BFF4-CDA0FA19B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1454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252A81-FC6B-4553-BFF4-CDA0FA19B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oogle Shape;66;p42"/>
          <p:cNvSpPr txBox="1"/>
          <p:nvPr/>
        </p:nvSpPr>
        <p:spPr>
          <a:xfrm>
            <a:off x="0" y="0"/>
            <a:ext cx="508000" cy="685800"/>
          </a:xfrm>
          <a:prstGeom prst="rect">
            <a:avLst/>
          </a:prstGeom>
          <a:solidFill>
            <a:srgbClr val="0F75B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67;p42"/>
          <p:cNvSpPr txBox="1"/>
          <p:nvPr/>
        </p:nvSpPr>
        <p:spPr>
          <a:xfrm>
            <a:off x="0" y="685800"/>
            <a:ext cx="508000" cy="685800"/>
          </a:xfrm>
          <a:prstGeom prst="rect">
            <a:avLst/>
          </a:prstGeom>
          <a:solidFill>
            <a:srgbClr val="25AAE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8" name="Google Shape;68;p42" descr="E:\Brand &amp; all that\Greatlearning Logo\Greatlearning Logo.jpg"/>
          <p:cNvPicPr preferRelativeResize="0"/>
          <p:nvPr/>
        </p:nvPicPr>
        <p:blipFill rotWithShape="1">
          <a:blip r:embed="rId6">
            <a:alphaModFix/>
          </a:blip>
          <a:srcRect l="19363" t="19598" r="17929" b="71116"/>
          <a:stretch/>
        </p:blipFill>
        <p:spPr>
          <a:xfrm>
            <a:off x="8197850" y="317500"/>
            <a:ext cx="3598862" cy="565150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42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orbel"/>
                <a:ea typeface="Corbel"/>
                <a:cs typeface="Corbel"/>
                <a:sym typeface="Corbel"/>
              </a:defRPr>
            </a:lvl9pPr>
          </a:lstStyle>
          <a:p>
            <a:endParaRPr/>
          </a:p>
        </p:txBody>
      </p:sp>
      <p:sp>
        <p:nvSpPr>
          <p:cNvPr id="70" name="Google Shape;70;p42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Google Shape;71;p42"/>
          <p:cNvSpPr txBox="1">
            <a:spLocks noGrp="1"/>
          </p:cNvSpPr>
          <p:nvPr>
            <p:ph type="dt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42"/>
          <p:cNvSpPr txBox="1">
            <a:spLocks noGrp="1"/>
          </p:cNvSpPr>
          <p:nvPr>
            <p:ph type="ft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42"/>
          <p:cNvSpPr txBox="1">
            <a:spLocks noGrp="1"/>
          </p:cNvSpPr>
          <p:nvPr>
            <p:ph type="sldNum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  <a:defRPr sz="1400" b="0" i="0" u="none" strike="noStrike" cap="none">
                <a:solidFill>
                  <a:srgbClr val="595959"/>
                </a:solidFill>
                <a:latin typeface="Candara"/>
                <a:ea typeface="Candara"/>
                <a:cs typeface="Candara"/>
                <a:sym typeface="Candara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customXml" Target="../ink/ink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uciml/red-wine-quality-cortez-et-al-2009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customXml" Target="../ink/ink9.xml"/><Relationship Id="rId18" Type="http://schemas.openxmlformats.org/officeDocument/2006/relationships/image" Target="../media/image20.png"/><Relationship Id="rId3" Type="http://schemas.openxmlformats.org/officeDocument/2006/relationships/customXml" Target="../ink/ink4.xml"/><Relationship Id="rId7" Type="http://schemas.openxmlformats.org/officeDocument/2006/relationships/customXml" Target="../ink/ink6.xml"/><Relationship Id="rId12" Type="http://schemas.openxmlformats.org/officeDocument/2006/relationships/image" Target="../media/image17.png"/><Relationship Id="rId17" Type="http://schemas.openxmlformats.org/officeDocument/2006/relationships/customXml" Target="../ink/ink11.xml"/><Relationship Id="rId2" Type="http://schemas.openxmlformats.org/officeDocument/2006/relationships/image" Target="../media/image12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11" Type="http://schemas.openxmlformats.org/officeDocument/2006/relationships/customXml" Target="../ink/ink8.xml"/><Relationship Id="rId5" Type="http://schemas.openxmlformats.org/officeDocument/2006/relationships/customXml" Target="../ink/ink5.xml"/><Relationship Id="rId15" Type="http://schemas.openxmlformats.org/officeDocument/2006/relationships/customXml" Target="../ink/ink10.xml"/><Relationship Id="rId10" Type="http://schemas.openxmlformats.org/officeDocument/2006/relationships/image" Target="../media/image16.png"/><Relationship Id="rId4" Type="http://schemas.openxmlformats.org/officeDocument/2006/relationships/image" Target="../media/image13.png"/><Relationship Id="rId9" Type="http://schemas.openxmlformats.org/officeDocument/2006/relationships/customXml" Target="../ink/ink7.xml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ustomXml" Target="../ink/ink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"/>
          <p:cNvSpPr txBox="1">
            <a:spLocks noGrp="1"/>
          </p:cNvSpPr>
          <p:nvPr>
            <p:ph type="ctrTitle"/>
          </p:nvPr>
        </p:nvSpPr>
        <p:spPr>
          <a:xfrm>
            <a:off x="2438400" y="2797175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None/>
            </a:pPr>
            <a:r>
              <a:rPr lang="en-IN" sz="4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semble Techniques</a:t>
            </a:r>
            <a:endParaRPr sz="40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p24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4000">
                <a:latin typeface="Times New Roman"/>
                <a:ea typeface="Times New Roman"/>
                <a:cs typeface="Times New Roman"/>
                <a:sym typeface="Times New Roman"/>
              </a:rPr>
              <a:t>Boosting concept </a:t>
            </a:r>
            <a:endParaRPr sz="40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01" name="Google Shape;301;p24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Boosting is a general ensemble method that creates a strong classifier from a number of weak classifiers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Similar to bagging, but the learners are grown sequentially; except for the first, each subsequent learner is grown from previously grown learners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If the learner is a Decision tree, each of the trees can be small, with just a few terminal nodes (determined by the parameter d supplied)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022C293-706A-46C6-A084-36F07A0C2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83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022C293-706A-46C6-A084-36F07A0C2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9B20EB-51C8-4A9D-9DAB-2A0A0C53B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855520"/>
          </a:xfrm>
        </p:spPr>
        <p:txBody>
          <a:bodyPr vert="horz"/>
          <a:lstStyle/>
          <a:p>
            <a:r>
              <a:rPr lang="en-US" dirty="0"/>
              <a:t>Decision Tree v/s Ba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A9704A-5369-4E25-8EF3-8A07432665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8556" y="1428107"/>
            <a:ext cx="9374888" cy="372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180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2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7" name="Google Shape;307;p2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/>
          </a:p>
        </p:txBody>
      </p:sp>
      <p:pic>
        <p:nvPicPr>
          <p:cNvPr id="308" name="Google Shape;308;p25" descr="https://i.ytimg.com/vi/kJsrF9YAfjc/maxresdefault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A4E91D09-8345-41D2-8F65-803EB74E6201}"/>
                  </a:ext>
                </a:extLst>
              </p14:cNvPr>
              <p14:cNvContentPartPr/>
              <p14:nvPr/>
            </p14:nvContentPartPr>
            <p14:xfrm>
              <a:off x="1323000" y="2257560"/>
              <a:ext cx="3523680" cy="303912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A4E91D09-8345-41D2-8F65-803EB74E620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313640" y="2248200"/>
                <a:ext cx="3542400" cy="305784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26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br>
              <a:rPr lang="en-IN" sz="3400" dirty="0"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en-IN" sz="3400" dirty="0">
                <a:latin typeface="Times New Roman"/>
                <a:ea typeface="Times New Roman"/>
                <a:cs typeface="Times New Roman"/>
                <a:sym typeface="Times New Roman"/>
              </a:rPr>
              <a:t>Types of Boosting</a:t>
            </a:r>
            <a:br>
              <a:rPr lang="en-IN" sz="3400" dirty="0"/>
            </a:br>
            <a:endParaRPr sz="3400" dirty="0"/>
          </a:p>
        </p:txBody>
      </p:sp>
      <p:sp>
        <p:nvSpPr>
          <p:cNvPr id="314" name="Google Shape;314;p26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8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 dirty="0" err="1">
                <a:latin typeface="Times New Roman"/>
                <a:ea typeface="Times New Roman"/>
                <a:cs typeface="Times New Roman"/>
                <a:sym typeface="Times New Roman"/>
              </a:rPr>
              <a:t>AdaBoosting</a:t>
            </a: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: It is so called as the weights are re-assigned to each instance, with higher weights to incorrectly classified instance.</a:t>
            </a:r>
            <a:endParaRPr dirty="0"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Gradient Boosting:  By fitting new models to the residuals, the overall learner gradually improves in areas where residuals are initially high.</a:t>
            </a:r>
            <a:endParaRPr dirty="0"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8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800" dirty="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1134AAE1-614F-48F0-BFFB-752A3E8B1614}"/>
                  </a:ext>
                </a:extLst>
              </p14:cNvPr>
              <p14:cNvContentPartPr/>
              <p14:nvPr/>
            </p14:nvContentPartPr>
            <p14:xfrm>
              <a:off x="629640" y="342360"/>
              <a:ext cx="11519280" cy="63741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1134AAE1-614F-48F0-BFFB-752A3E8B161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0280" y="333000"/>
                <a:ext cx="11538000" cy="639288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27"/>
          <p:cNvSpPr txBox="1">
            <a:spLocks noGrp="1"/>
          </p:cNvSpPr>
          <p:nvPr>
            <p:ph type="title"/>
          </p:nvPr>
        </p:nvSpPr>
        <p:spPr>
          <a:xfrm>
            <a:off x="609600" y="59394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erence between </a:t>
            </a:r>
            <a:r>
              <a:rPr lang="en-IN" sz="3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daboost</a:t>
            </a:r>
            <a:r>
              <a:rPr lang="en-IN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IN" sz="3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radientBoost</a:t>
            </a:r>
            <a:endParaRPr sz="3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0" name="Google Shape;320;p27" descr="https://static.packt-cdn.com/products/9781788295758/graphics/B07777_04_table1-1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95450" y="1736947"/>
            <a:ext cx="8801100" cy="49434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30"/>
          <p:cNvSpPr txBox="1">
            <a:spLocks noGrp="1"/>
          </p:cNvSpPr>
          <p:nvPr>
            <p:ph type="title"/>
          </p:nvPr>
        </p:nvSpPr>
        <p:spPr>
          <a:xfrm>
            <a:off x="609600" y="537873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dirty="0">
                <a:latin typeface="Times New Roman"/>
                <a:ea typeface="Times New Roman"/>
                <a:cs typeface="Times New Roman"/>
                <a:sym typeface="Times New Roman"/>
              </a:rPr>
              <a:t>Random Forest </a:t>
            </a:r>
            <a:br>
              <a:rPr lang="en-IN" sz="3400" dirty="0">
                <a:latin typeface="Times New Roman"/>
                <a:ea typeface="Times New Roman"/>
                <a:cs typeface="Times New Roman"/>
                <a:sym typeface="Times New Roman"/>
              </a:rPr>
            </a:br>
            <a:endParaRPr sz="3400" dirty="0"/>
          </a:p>
        </p:txBody>
      </p:sp>
      <p:sp>
        <p:nvSpPr>
          <p:cNvPr id="338" name="Google Shape;338;p30"/>
          <p:cNvSpPr txBox="1">
            <a:spLocks noGrp="1"/>
          </p:cNvSpPr>
          <p:nvPr>
            <p:ph type="body" idx="1"/>
          </p:nvPr>
        </p:nvSpPr>
        <p:spPr>
          <a:xfrm>
            <a:off x="609600" y="1511848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IN" sz="2000" dirty="0">
                <a:latin typeface="Times New Roman"/>
                <a:ea typeface="Times New Roman"/>
                <a:cs typeface="Times New Roman"/>
                <a:sym typeface="Times New Roman"/>
              </a:rPr>
              <a:t>Each tree in the ensemble is built from a sample drawn with replacement (bootstrap) from the training set.</a:t>
            </a:r>
          </a:p>
          <a:p>
            <a:endParaRPr sz="20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r>
              <a:rPr lang="en-IN" sz="2000" dirty="0">
                <a:latin typeface="Times New Roman"/>
                <a:ea typeface="Times New Roman"/>
                <a:cs typeface="Times New Roman"/>
                <a:sym typeface="Times New Roman"/>
              </a:rPr>
              <a:t>In addition, when splitting a node during the construction of a tree, the split that is chosen is no longer the best split among all the features.</a:t>
            </a:r>
            <a:endParaRPr sz="20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571500" indent="-342900"/>
            <a:endParaRPr sz="20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r>
              <a:rPr lang="en-IN" sz="2000" dirty="0">
                <a:latin typeface="Times New Roman"/>
                <a:ea typeface="Times New Roman"/>
                <a:cs typeface="Times New Roman"/>
                <a:sym typeface="Times New Roman"/>
              </a:rPr>
              <a:t>Instead, the split that is picked is the best split among a random subset of the features.</a:t>
            </a:r>
            <a:endParaRPr sz="20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571500" indent="-342900"/>
            <a:endParaRPr sz="20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r>
              <a:rPr lang="en-IN" sz="2000" dirty="0">
                <a:latin typeface="Times New Roman"/>
                <a:ea typeface="Times New Roman"/>
                <a:cs typeface="Times New Roman"/>
                <a:sym typeface="Times New Roman"/>
              </a:rPr>
              <a:t>Due to averaging, its variance decreases, usually more than compensating the increase in bias</a:t>
            </a:r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32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se Study - Wine quality production </a:t>
            </a:r>
            <a:endParaRPr sz="3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1" name="Google Shape;351;p32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8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b="1" dirty="0">
                <a:latin typeface="Calibri"/>
                <a:ea typeface="Calibri"/>
                <a:cs typeface="Calibri"/>
                <a:sym typeface="Calibri"/>
              </a:rPr>
              <a:t>Context</a:t>
            </a: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 b="1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We will continue with the case study used in the last week content. We used wines data and constructed a decision tree.</a:t>
            </a: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lang="en-IN" sz="2200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The dataset is related to red variants of the Portuguese “</a:t>
            </a:r>
            <a:r>
              <a:rPr lang="en-IN" sz="2200" dirty="0" err="1">
                <a:latin typeface="Calibri"/>
                <a:ea typeface="Calibri"/>
                <a:cs typeface="Calibri"/>
                <a:sym typeface="Calibri"/>
              </a:rPr>
              <a:t>Vinho</a:t>
            </a: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 Verde” wine. Due to privacy and logistic issues, only physicochemical (inputs) and sensory (output) variables are available ( </a:t>
            </a:r>
            <a:r>
              <a:rPr lang="en-IN" sz="2200" dirty="0" err="1">
                <a:latin typeface="Calibri"/>
                <a:ea typeface="Calibri"/>
                <a:cs typeface="Calibri"/>
                <a:sym typeface="Calibri"/>
              </a:rPr>
              <a:t>eg</a:t>
            </a: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: there is no data about grape types, wine brand, wine selling price, etc.)</a:t>
            </a: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200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These datasets can be viewed as classification or regression tasks. The classes are ordered and not balanced (</a:t>
            </a:r>
            <a:r>
              <a:rPr lang="en-IN" sz="2200" dirty="0" err="1">
                <a:latin typeface="Calibri"/>
                <a:ea typeface="Calibri"/>
                <a:cs typeface="Calibri"/>
                <a:sym typeface="Calibri"/>
              </a:rPr>
              <a:t>eg</a:t>
            </a:r>
            <a:r>
              <a:rPr lang="en-IN" sz="2200" dirty="0">
                <a:latin typeface="Calibri"/>
                <a:ea typeface="Calibri"/>
                <a:cs typeface="Calibri"/>
                <a:sym typeface="Calibri"/>
              </a:rPr>
              <a:t>, there are much more normal wines than excellent or poor ones). </a:t>
            </a:r>
            <a:endParaRPr sz="22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2" name="Google Shape;352;p32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6</a:t>
            </a:fld>
            <a:endParaRPr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33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9" name="Google Shape;359;p33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b="1" dirty="0"/>
              <a:t>Dataset</a:t>
            </a:r>
            <a:endParaRPr b="1" dirty="0"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 u="sng" dirty="0">
                <a:solidFill>
                  <a:srgbClr val="337AB7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https://www.kaggle.com/uciml/red-wine-quality-cortez-et-al-2009</a:t>
            </a:r>
            <a:endParaRPr sz="2400" dirty="0"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 dirty="0"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3000" b="1" dirty="0"/>
              <a:t>Problem Statement</a:t>
            </a:r>
            <a:endParaRPr sz="3000" b="1" dirty="0"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3000" b="1" dirty="0"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Wine Quality Prediction - Here, we will apply a method of assessing wine quality using a Decision Tree, and test it against the wine-quality dataset from the UC Irvine machine learning repository. The wine dataset is a classic and very easy multi-class classification dataset. We will use the techniques learnt in this module to improve our model. 	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" name="Google Shape;360;p33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7</a:t>
            </a:fld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34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7" name="Google Shape;367;p34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 Attributes</a:t>
            </a: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 dirty="0"/>
          </a:p>
          <a:p>
            <a:pPr marL="457200" lvl="0" indent="-3810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Fixed Acidity                                             10. Sulphates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Volatile acidity                                          11. Alcohol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Citric acid                                                   12. Quality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Residual sugar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Chlorides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Free sulphur dioxide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Total sulphur dioxide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Density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Calibri"/>
              <a:buAutoNum type="arabicPeriod"/>
            </a:pPr>
            <a:r>
              <a:rPr lang="en-IN" sz="2400" dirty="0">
                <a:latin typeface="Calibri"/>
                <a:ea typeface="Calibri"/>
                <a:cs typeface="Calibri"/>
                <a:sym typeface="Calibri"/>
              </a:rPr>
              <a:t>pH</a:t>
            </a:r>
            <a:endParaRPr sz="24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34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8</a:t>
            </a:fld>
            <a:endParaRPr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3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5" name="Google Shape;375;p3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 to follow</a:t>
            </a: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1950"/>
              <a:buFont typeface="Arial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Import all necessary libraries and load the data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50"/>
              <a:buFont typeface="Arial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Print the descriptive statistics of each &amp; every column using describe() function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50"/>
              <a:buFont typeface="Arial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Using univariate analysis check the individual attributes for their basic statistic such as central values, spread, tails etc.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50"/>
              <a:buFont typeface="Arial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Use </a:t>
            </a:r>
            <a:r>
              <a:rPr lang="en-IN" sz="1950" dirty="0" err="1">
                <a:latin typeface="Arial"/>
                <a:ea typeface="Arial"/>
                <a:cs typeface="Arial"/>
                <a:sym typeface="Arial"/>
              </a:rPr>
              <a:t>pairplots</a:t>
            </a: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 and correlation method to observe the relationship between different variables and state your insights.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50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Split the </a:t>
            </a:r>
            <a:r>
              <a:rPr lang="en-IN" sz="1950" dirty="0" err="1">
                <a:latin typeface="Arial"/>
                <a:ea typeface="Arial"/>
                <a:cs typeface="Arial"/>
                <a:sym typeface="Arial"/>
              </a:rPr>
              <a:t>wine_df</a:t>
            </a: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 into training and test set in the ratio of 70:30 (</a:t>
            </a:r>
            <a:r>
              <a:rPr lang="en-IN" sz="1950" dirty="0" err="1">
                <a:latin typeface="Arial"/>
                <a:ea typeface="Arial"/>
                <a:cs typeface="Arial"/>
                <a:sym typeface="Arial"/>
              </a:rPr>
              <a:t>Training:Test</a:t>
            </a: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) based on dependent and independent variables.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  <a:p>
            <a:pPr marL="457200" lvl="0" indent="-3524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50"/>
              <a:buFont typeface="Arial"/>
              <a:buAutoNum type="arabicPeriod"/>
            </a:pPr>
            <a:r>
              <a:rPr lang="en-IN" sz="1950" dirty="0">
                <a:latin typeface="Arial"/>
                <a:ea typeface="Arial"/>
                <a:cs typeface="Arial"/>
                <a:sym typeface="Arial"/>
              </a:rPr>
              <a:t>Create the decision tree model using “entropy” method of finding the split columns and fit it to training data.</a:t>
            </a:r>
            <a:endParaRPr sz="195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6" name="Google Shape;376;p35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19</a:t>
            </a:fld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Times New Roman"/>
              <a:buNone/>
            </a:pPr>
            <a:r>
              <a:rPr lang="en-IN" sz="3400" b="0" i="0" strike="noStrike" cap="none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Learning Objectives </a:t>
            </a:r>
            <a:endParaRPr sz="3400" dirty="0"/>
          </a:p>
        </p:txBody>
      </p:sp>
      <p:sp>
        <p:nvSpPr>
          <p:cNvPr id="88" name="Google Shape;88;p2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Ensemble Methods</a:t>
            </a:r>
            <a:endParaRPr dirty="0"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Bias-Variance error</a:t>
            </a:r>
            <a:endParaRPr dirty="0"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Bagging concept and hands on exercise</a:t>
            </a:r>
            <a:endParaRPr dirty="0"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Boosting concept and hands on exercise</a:t>
            </a:r>
            <a:endParaRPr dirty="0"/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Random Forest and hands on exercise</a:t>
            </a:r>
            <a:endParaRPr sz="24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Font typeface="Times New Roman"/>
              <a:buChar char="•"/>
            </a:pPr>
            <a:r>
              <a:rPr lang="en-IN" sz="2400" dirty="0">
                <a:latin typeface="Times New Roman"/>
                <a:ea typeface="Times New Roman"/>
                <a:cs typeface="Times New Roman"/>
                <a:sym typeface="Times New Roman"/>
              </a:rPr>
              <a:t>Case Study</a:t>
            </a:r>
            <a:endParaRPr sz="24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1905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95300" lvl="0" indent="-1905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52400" lvl="0" indent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b="0" i="0" u="none" dirty="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89" name="Google Shape;89;p2"/>
          <p:cNvSpPr txBox="1"/>
          <p:nvPr/>
        </p:nvSpPr>
        <p:spPr>
          <a:xfrm>
            <a:off x="609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2"/>
          <p:cNvSpPr txBox="1"/>
          <p:nvPr/>
        </p:nvSpPr>
        <p:spPr>
          <a:xfrm>
            <a:off x="8737600" y="647700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Times New Roman"/>
              <a:buNone/>
            </a:pPr>
            <a:fld id="{00000000-1234-1234-1234-123412341234}" type="slidenum">
              <a:rPr lang="en-IN" sz="1400" b="0" i="0" u="none" strike="noStrike" cap="none">
                <a:solidFill>
                  <a:srgbClr val="595959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2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36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3" name="Google Shape;383;p36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7. Print the accuracy of the model &amp; print the confusion matrix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8. Regularize the decision tree by limiting the max. depth of trees and print the    accuracy.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9. Apply the Random forest model and print the accuracy of Random forest Model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10. Apply Adaboost Ensemble Algorithm for the same data and print the accuracy.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11. Apply Bagging Classifier Algorithm and print the accuracy.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Calibri"/>
                <a:ea typeface="Calibri"/>
                <a:cs typeface="Calibri"/>
                <a:sym typeface="Calibri"/>
              </a:rPr>
              <a:t>12. Apply GradientBoost Classifier Algorithm for the same data and print the accuracy</a:t>
            </a:r>
            <a:endParaRPr sz="24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" name="Google Shape;384;p36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20</a:t>
            </a:fld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p37"/>
          <p:cNvSpPr txBox="1"/>
          <p:nvPr/>
        </p:nvSpPr>
        <p:spPr>
          <a:xfrm>
            <a:off x="4219575" y="4572000"/>
            <a:ext cx="3454400" cy="923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Times New Roman"/>
              <a:buNone/>
            </a:pPr>
            <a:r>
              <a:rPr lang="en-IN" sz="5400" b="1" i="0" u="none" strike="noStrike" cap="none">
                <a:solidFill>
                  <a:schemeClr val="accent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Questions?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0" name="Google Shape;390;p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639050" y="3798887"/>
            <a:ext cx="3028950" cy="3028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" name="Google Shape;391;p3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84325" y="1450975"/>
            <a:ext cx="4359275" cy="2663825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37"/>
          <p:cNvSpPr txBox="1"/>
          <p:nvPr/>
        </p:nvSpPr>
        <p:spPr>
          <a:xfrm>
            <a:off x="8737600" y="6356350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A1E0B62-322F-476F-934B-03EF738386A5}"/>
              </a:ext>
            </a:extLst>
          </p:cNvPr>
          <p:cNvSpPr/>
          <p:nvPr/>
        </p:nvSpPr>
        <p:spPr>
          <a:xfrm>
            <a:off x="10387173" y="5784350"/>
            <a:ext cx="1191802" cy="8527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F770CC-3AF4-47BE-BB22-404E6F85A4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4236" y="918894"/>
            <a:ext cx="9078823" cy="571821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8BC0EC99-D709-4A61-A175-97807ADC3FC3}"/>
              </a:ext>
            </a:extLst>
          </p:cNvPr>
          <p:cNvGrpSpPr/>
          <p:nvPr/>
        </p:nvGrpSpPr>
        <p:grpSpPr>
          <a:xfrm>
            <a:off x="5178094" y="5977242"/>
            <a:ext cx="296640" cy="338760"/>
            <a:chOff x="5178094" y="5977242"/>
            <a:chExt cx="296640" cy="338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">
              <p14:nvContentPartPr>
                <p14:cNvPr id="7" name="Ink 6">
                  <a:extLst>
                    <a:ext uri="{FF2B5EF4-FFF2-40B4-BE49-F238E27FC236}">
                      <a16:creationId xmlns:a16="http://schemas.microsoft.com/office/drawing/2014/main" id="{3FF1E5BD-1220-4D44-87D0-A4E0AA8EBE1F}"/>
                    </a:ext>
                  </a:extLst>
                </p14:cNvPr>
                <p14:cNvContentPartPr/>
                <p14:nvPr/>
              </p14:nvContentPartPr>
              <p14:xfrm>
                <a:off x="5261254" y="5977242"/>
                <a:ext cx="191880" cy="304920"/>
              </p14:xfrm>
            </p:contentPart>
          </mc:Choice>
          <mc:Fallback>
            <p:pic>
              <p:nvPicPr>
                <p:cNvPr id="7" name="Ink 6">
                  <a:extLst>
                    <a:ext uri="{FF2B5EF4-FFF2-40B4-BE49-F238E27FC236}">
                      <a16:creationId xmlns:a16="http://schemas.microsoft.com/office/drawing/2014/main" id="{3FF1E5BD-1220-4D44-87D0-A4E0AA8EBE1F}"/>
                    </a:ext>
                  </a:extLst>
                </p:cNvPr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225254" y="5941242"/>
                  <a:ext cx="263520" cy="37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8" name="Ink 7">
                  <a:extLst>
                    <a:ext uri="{FF2B5EF4-FFF2-40B4-BE49-F238E27FC236}">
                      <a16:creationId xmlns:a16="http://schemas.microsoft.com/office/drawing/2014/main" id="{5294920B-080C-4996-AFBD-5B6BE66D966B}"/>
                    </a:ext>
                  </a:extLst>
                </p14:cNvPr>
                <p14:cNvContentPartPr/>
                <p14:nvPr/>
              </p14:nvContentPartPr>
              <p14:xfrm>
                <a:off x="5178094" y="6072282"/>
                <a:ext cx="186480" cy="176040"/>
              </p14:xfrm>
            </p:contentPart>
          </mc:Choice>
          <mc:Fallback>
            <p:pic>
              <p:nvPicPr>
                <p:cNvPr id="8" name="Ink 7">
                  <a:extLst>
                    <a:ext uri="{FF2B5EF4-FFF2-40B4-BE49-F238E27FC236}">
                      <a16:creationId xmlns:a16="http://schemas.microsoft.com/office/drawing/2014/main" id="{5294920B-080C-4996-AFBD-5B6BE66D966B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142454" y="6036282"/>
                  <a:ext cx="258120" cy="247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AF5ADD14-C2F6-437C-B6B0-A2D58959C31B}"/>
                    </a:ext>
                  </a:extLst>
                </p14:cNvPr>
                <p14:cNvContentPartPr/>
                <p14:nvPr/>
              </p14:nvContentPartPr>
              <p14:xfrm>
                <a:off x="5190694" y="6192882"/>
                <a:ext cx="284040" cy="123120"/>
              </p14:xfrm>
            </p:contentPart>
          </mc:Choice>
          <mc:Fallback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AF5ADD14-C2F6-437C-B6B0-A2D58959C31B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154694" y="6156882"/>
                  <a:ext cx="355680" cy="194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58669BA-C845-4175-AB7D-CFDCD7186740}"/>
              </a:ext>
            </a:extLst>
          </p:cNvPr>
          <p:cNvGrpSpPr/>
          <p:nvPr/>
        </p:nvGrpSpPr>
        <p:grpSpPr>
          <a:xfrm>
            <a:off x="5144614" y="6570522"/>
            <a:ext cx="510480" cy="290520"/>
            <a:chOff x="5144614" y="6570522"/>
            <a:chExt cx="510480" cy="290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6A75C7CB-B139-4064-A2AC-30B27DEAB8DB}"/>
                    </a:ext>
                  </a:extLst>
                </p14:cNvPr>
                <p14:cNvContentPartPr/>
                <p14:nvPr/>
              </p14:nvContentPartPr>
              <p14:xfrm>
                <a:off x="5144614" y="6570522"/>
                <a:ext cx="146520" cy="233280"/>
              </p14:xfrm>
            </p:contentPart>
          </mc:Choice>
          <mc:Fallback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6A75C7CB-B139-4064-A2AC-30B27DEAB8DB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108974" y="6534882"/>
                  <a:ext cx="218160" cy="304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8DF07CC8-4BBE-44E6-BE08-0EDFC575759C}"/>
                    </a:ext>
                  </a:extLst>
                </p14:cNvPr>
                <p14:cNvContentPartPr/>
                <p14:nvPr/>
              </p14:nvContentPartPr>
              <p14:xfrm>
                <a:off x="5431534" y="6587442"/>
                <a:ext cx="223560" cy="27360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8DF07CC8-4BBE-44E6-BE08-0EDFC575759C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5395894" y="6551442"/>
                  <a:ext cx="295200" cy="3452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24C7355-E59A-452D-9F81-9A81EEEAC86A}"/>
              </a:ext>
            </a:extLst>
          </p:cNvPr>
          <p:cNvGrpSpPr/>
          <p:nvPr/>
        </p:nvGrpSpPr>
        <p:grpSpPr>
          <a:xfrm>
            <a:off x="1358854" y="5450784"/>
            <a:ext cx="1194840" cy="650880"/>
            <a:chOff x="1358854" y="5450784"/>
            <a:chExt cx="1194840" cy="650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43E17AC2-75BD-4A18-B5CC-FC5858BC825B}"/>
                    </a:ext>
                  </a:extLst>
                </p14:cNvPr>
                <p14:cNvContentPartPr/>
                <p14:nvPr/>
              </p14:nvContentPartPr>
              <p14:xfrm>
                <a:off x="1358854" y="5450784"/>
                <a:ext cx="838440" cy="453960"/>
              </p14:xfrm>
            </p:contentPart>
          </mc:Choice>
          <mc:Fallback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43E17AC2-75BD-4A18-B5CC-FC5858BC825B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322854" y="5415144"/>
                  <a:ext cx="910080" cy="52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6CB2C2F6-B04C-4815-8642-0D9C0FEA2077}"/>
                    </a:ext>
                  </a:extLst>
                </p14:cNvPr>
                <p14:cNvContentPartPr/>
                <p14:nvPr/>
              </p14:nvContentPartPr>
              <p14:xfrm>
                <a:off x="1933414" y="6018144"/>
                <a:ext cx="620280" cy="8352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6CB2C2F6-B04C-4815-8642-0D9C0FEA2077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897414" y="5982144"/>
                  <a:ext cx="691920" cy="1551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7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8FFF74DC-288D-474F-9DE3-9D344956BBB1}"/>
                  </a:ext>
                </a:extLst>
              </p14:cNvPr>
              <p14:cNvContentPartPr/>
              <p14:nvPr/>
            </p14:nvContentPartPr>
            <p14:xfrm>
              <a:off x="7576920" y="5662080"/>
              <a:ext cx="488880" cy="316080"/>
            </p14:xfrm>
          </p:contentPart>
        </mc:Choice>
        <mc:Fallback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8FFF74DC-288D-474F-9DE3-9D344956BBB1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7567560" y="5652720"/>
                <a:ext cx="507600" cy="334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53045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14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>
                <a:latin typeface="Times New Roman"/>
                <a:ea typeface="Times New Roman"/>
                <a:cs typeface="Times New Roman"/>
                <a:sym typeface="Times New Roman"/>
              </a:rPr>
              <a:t>Ensemble methods</a:t>
            </a:r>
            <a:endParaRPr sz="36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17" name="Google Shape;217;p14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810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400"/>
              <a:buFont typeface="Times New Roman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Ensemble is a group of models that are used together for prediction  both in classification and regression class.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400"/>
              <a:buFont typeface="Times New Roman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We employ various methods to achieve this for eg: tuning hyper parameters, up-sampling/ down-sampling etc.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3810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400"/>
              <a:buFont typeface="Times New Roman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The motivation behind ensemble is the belief that a committee of experts working together are more likely to be accurate than individual experts.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1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3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IN" sz="3000">
                <a:latin typeface="Times New Roman"/>
                <a:ea typeface="Times New Roman"/>
                <a:cs typeface="Times New Roman"/>
                <a:sym typeface="Times New Roman"/>
              </a:rPr>
              <a:t>Ensemble methods- Characteristics</a:t>
            </a:r>
            <a:endParaRPr sz="30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3000"/>
          </a:p>
        </p:txBody>
      </p:sp>
      <p:sp>
        <p:nvSpPr>
          <p:cNvPr id="224" name="Google Shape;224;p1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810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2400"/>
              <a:buFont typeface="Times New Roman"/>
              <a:buAutoNum type="arabicPeriod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For effective ensemble we have to ensure -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a. The models are as different from each other as possible.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b. The errors of each model should be independent.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2. The models in the ensemble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a. Are not regularized and hence each model tend to overfit	prone to variance errors.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	b. The variance errors across all models put together cancel out at the time of            aggregation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25" name="Google Shape;225;p15"/>
          <p:cNvSpPr txBox="1">
            <a:spLocks noGrp="1"/>
          </p:cNvSpPr>
          <p:nvPr>
            <p:ph type="sldNum" idx="12"/>
          </p:nvPr>
        </p:nvSpPr>
        <p:spPr>
          <a:xfrm>
            <a:off x="8737600" y="6477000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400"/>
              <a:buFont typeface="Candara"/>
              <a:buNone/>
            </a:pPr>
            <a:fld id="{00000000-1234-1234-1234-123412341234}" type="slidenum">
              <a:rPr lang="en-IN"/>
              <a:t>4</a:t>
            </a:fld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16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r>
              <a:rPr lang="en-IN" sz="3200">
                <a:latin typeface="Times New Roman"/>
                <a:ea typeface="Times New Roman"/>
                <a:cs typeface="Times New Roman"/>
                <a:sym typeface="Times New Roman"/>
              </a:rPr>
              <a:t>Bias-Variance error</a:t>
            </a:r>
            <a:endParaRPr/>
          </a:p>
        </p:txBody>
      </p:sp>
      <p:sp>
        <p:nvSpPr>
          <p:cNvPr id="231" name="Google Shape;231;p16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Bias are the simplifying assumptions made by a model to make the target function easier to learn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Variance is the amount that the estimate of the target function will change if different training data was used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The goal of any supervised machine learning algorithm is to achieve low bias and low variance. In turn the algorithm should achieve good prediction performance.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1600" i="1">
                <a:latin typeface="Times New Roman"/>
                <a:ea typeface="Times New Roman"/>
                <a:cs typeface="Times New Roman"/>
                <a:sym typeface="Times New Roman"/>
              </a:rPr>
              <a:t>(P.S. The parameterization of machine learning algorithms is often a battle to balance out bias and variance)</a:t>
            </a:r>
            <a:br>
              <a:rPr lang="en-IN" sz="2400"/>
            </a:b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17"/>
          <p:cNvSpPr txBox="1">
            <a:spLocks noGrp="1"/>
          </p:cNvSpPr>
          <p:nvPr>
            <p:ph type="body" idx="1"/>
          </p:nvPr>
        </p:nvSpPr>
        <p:spPr>
          <a:xfrm>
            <a:off x="653142" y="35197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>
                <a:latin typeface="Times New Roman"/>
                <a:ea typeface="Times New Roman"/>
                <a:cs typeface="Times New Roman"/>
                <a:sym typeface="Times New Roman"/>
              </a:rPr>
              <a:t>Bias and variance using bulls-eye diagram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237" name="Google Shape;237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90100" y="1732190"/>
            <a:ext cx="4781768" cy="4112714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D24D0B62-B337-452F-9CE4-6AC5FB0AF89A}"/>
                  </a:ext>
                </a:extLst>
              </p14:cNvPr>
              <p14:cNvContentPartPr/>
              <p14:nvPr/>
            </p14:nvContentPartPr>
            <p14:xfrm>
              <a:off x="2565360" y="2100600"/>
              <a:ext cx="4654800" cy="331200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D24D0B62-B337-452F-9CE4-6AC5FB0AF89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556000" y="2091240"/>
                <a:ext cx="4673520" cy="333072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18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495300" lvl="0" indent="-3429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r>
              <a:rPr lang="en-IN" sz="3600">
                <a:latin typeface="Times New Roman"/>
                <a:ea typeface="Times New Roman"/>
                <a:cs typeface="Times New Roman"/>
                <a:sym typeface="Times New Roman"/>
              </a:rPr>
              <a:t>Bagging concept and hands on exercise</a:t>
            </a:r>
            <a:endParaRPr/>
          </a:p>
        </p:txBody>
      </p:sp>
      <p:sp>
        <p:nvSpPr>
          <p:cNvPr id="243" name="Google Shape;243;p18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Two families of ensemble methods are usually distinguished :</a:t>
            </a:r>
            <a:endParaRPr/>
          </a:p>
          <a:p>
            <a:pPr marL="2540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82600" lvl="0" indent="-4572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AutoNum type="arabicPeriod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Averaging methods: The driving principle is to build several estimators independently and then to average/vote their predictors.</a:t>
            </a:r>
            <a:endParaRPr/>
          </a:p>
          <a:p>
            <a:pPr marL="482600" lvl="0" indent="-2540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82600" lvl="0" indent="-4572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AutoNum type="arabicPeriod"/>
            </a:pPr>
            <a:r>
              <a:rPr lang="en-IN" sz="2400">
                <a:latin typeface="Times New Roman"/>
                <a:ea typeface="Times New Roman"/>
                <a:cs typeface="Times New Roman"/>
                <a:sym typeface="Times New Roman"/>
              </a:rPr>
              <a:t>Boosting methods: Base estimators are built sequentially and one tries to reduce the bias of the combined estimator. </a:t>
            </a:r>
            <a:endParaRPr sz="24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gging (Bootstrap Aggregation) </a:t>
            </a:r>
            <a:endParaRPr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9" name="Google Shape;249;p19"/>
          <p:cNvSpPr txBox="1">
            <a:spLocks noGrp="1"/>
          </p:cNvSpPr>
          <p:nvPr>
            <p:ph type="body" idx="1"/>
          </p:nvPr>
        </p:nvSpPr>
        <p:spPr>
          <a:xfrm>
            <a:off x="609600" y="1417637"/>
            <a:ext cx="10972800" cy="452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Designed to improve the stability of classification and regression models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It reduces variance errors and helps to avoid overfitting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an be used with any type of machine learning model, mostly used with decision tree.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</a:pPr>
            <a:r>
              <a:rPr lang="en-IN" sz="24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Use </a:t>
            </a:r>
            <a:r>
              <a:rPr lang="en-IN" b="1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sampling with replacement </a:t>
            </a:r>
            <a:r>
              <a:rPr lang="en-IN" sz="240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to generate multiple samples of a given size. </a:t>
            </a:r>
            <a:endParaRPr sz="240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20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IN" sz="3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gging example</a:t>
            </a:r>
            <a:endParaRPr sz="3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55" name="Google Shape;255;p20"/>
          <p:cNvGrpSpPr/>
          <p:nvPr/>
        </p:nvGrpSpPr>
        <p:grpSpPr>
          <a:xfrm>
            <a:off x="3783684" y="1839069"/>
            <a:ext cx="4533190" cy="3190022"/>
            <a:chOff x="3174084" y="108"/>
            <a:chExt cx="4533190" cy="3190022"/>
          </a:xfrm>
        </p:grpSpPr>
        <p:sp>
          <p:nvSpPr>
            <p:cNvPr id="256" name="Google Shape;256;p20"/>
            <p:cNvSpPr/>
            <p:nvPr/>
          </p:nvSpPr>
          <p:spPr>
            <a:xfrm>
              <a:off x="4811070" y="108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FFA09D"/>
                </a:gs>
                <a:gs pos="35000">
                  <a:srgbClr val="FFBCBC"/>
                </a:gs>
                <a:gs pos="100000">
                  <a:srgbClr val="FFE2E2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20"/>
            <p:cNvSpPr txBox="1"/>
            <p:nvPr/>
          </p:nvSpPr>
          <p:spPr>
            <a:xfrm>
              <a:off x="4835658" y="24696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ataset</a:t>
              </a:r>
              <a:endParaRPr/>
            </a:p>
          </p:txBody>
        </p:sp>
        <p:sp>
          <p:nvSpPr>
            <p:cNvPr id="258" name="Google Shape;258;p20"/>
            <p:cNvSpPr/>
            <p:nvPr/>
          </p:nvSpPr>
          <p:spPr>
            <a:xfrm>
              <a:off x="3803694" y="839588"/>
              <a:ext cx="1636985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20000" y="0"/>
                  </a:moveTo>
                  <a:lnTo>
                    <a:pt x="120000" y="60000"/>
                  </a:lnTo>
                  <a:lnTo>
                    <a:pt x="0" y="60000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59" name="Google Shape;259;p20"/>
            <p:cNvSpPr/>
            <p:nvPr/>
          </p:nvSpPr>
          <p:spPr>
            <a:xfrm>
              <a:off x="3174084" y="1175380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C8B2E9"/>
                </a:gs>
                <a:gs pos="35000">
                  <a:srgbClr val="D6CAED"/>
                </a:gs>
                <a:gs pos="100000">
                  <a:srgbClr val="EFE8FA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20"/>
            <p:cNvSpPr txBox="1"/>
            <p:nvPr/>
          </p:nvSpPr>
          <p:spPr>
            <a:xfrm>
              <a:off x="3198672" y="1199968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andom sample1 with replacement</a:t>
              </a:r>
              <a:endParaRPr/>
            </a:p>
          </p:txBody>
        </p:sp>
        <p:sp>
          <p:nvSpPr>
            <p:cNvPr id="261" name="Google Shape;261;p20"/>
            <p:cNvSpPr/>
            <p:nvPr/>
          </p:nvSpPr>
          <p:spPr>
            <a:xfrm>
              <a:off x="3757974" y="2014859"/>
              <a:ext cx="91440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0" y="0"/>
                  </a:moveTo>
                  <a:lnTo>
                    <a:pt x="60000" y="120000"/>
                  </a:lnTo>
                </a:path>
              </a:pathLst>
            </a:custGeom>
            <a:noFill/>
            <a:ln w="25400" cap="flat" cmpd="sng">
              <a:solidFill>
                <a:srgbClr val="49ACC5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62" name="Google Shape;262;p20"/>
            <p:cNvSpPr/>
            <p:nvPr/>
          </p:nvSpPr>
          <p:spPr>
            <a:xfrm>
              <a:off x="3174084" y="2350651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99EAFF"/>
                </a:gs>
                <a:gs pos="35000">
                  <a:srgbClr val="B8F1FF"/>
                </a:gs>
                <a:gs pos="100000">
                  <a:srgbClr val="E2FBFF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0"/>
            <p:cNvSpPr txBox="1"/>
            <p:nvPr/>
          </p:nvSpPr>
          <p:spPr>
            <a:xfrm>
              <a:off x="3198672" y="2375239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odel1</a:t>
              </a:r>
              <a:endParaRPr/>
            </a:p>
          </p:txBody>
        </p:sp>
        <p:sp>
          <p:nvSpPr>
            <p:cNvPr id="264" name="Google Shape;264;p20"/>
            <p:cNvSpPr/>
            <p:nvPr/>
          </p:nvSpPr>
          <p:spPr>
            <a:xfrm>
              <a:off x="5394959" y="839588"/>
              <a:ext cx="91440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0" y="0"/>
                  </a:moveTo>
                  <a:lnTo>
                    <a:pt x="60000" y="120000"/>
                  </a:lnTo>
                </a:path>
              </a:pathLst>
            </a:custGeom>
            <a:noFill/>
            <a:ln w="254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65" name="Google Shape;265;p20"/>
            <p:cNvSpPr/>
            <p:nvPr/>
          </p:nvSpPr>
          <p:spPr>
            <a:xfrm>
              <a:off x="4811070" y="1175380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C8B2E9"/>
                </a:gs>
                <a:gs pos="35000">
                  <a:srgbClr val="D6CAED"/>
                </a:gs>
                <a:gs pos="100000">
                  <a:srgbClr val="EFE8FA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0"/>
            <p:cNvSpPr txBox="1"/>
            <p:nvPr/>
          </p:nvSpPr>
          <p:spPr>
            <a:xfrm>
              <a:off x="4835658" y="1199968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andom sample2 with replacement</a:t>
              </a:r>
              <a:endParaRPr/>
            </a:p>
          </p:txBody>
        </p:sp>
        <p:sp>
          <p:nvSpPr>
            <p:cNvPr id="267" name="Google Shape;267;p20"/>
            <p:cNvSpPr/>
            <p:nvPr/>
          </p:nvSpPr>
          <p:spPr>
            <a:xfrm>
              <a:off x="5394959" y="2014859"/>
              <a:ext cx="91440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0" y="0"/>
                  </a:moveTo>
                  <a:lnTo>
                    <a:pt x="60000" y="120000"/>
                  </a:lnTo>
                </a:path>
              </a:pathLst>
            </a:custGeom>
            <a:noFill/>
            <a:ln w="25400" cap="flat" cmpd="sng">
              <a:solidFill>
                <a:srgbClr val="49ACC5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68" name="Google Shape;268;p20"/>
            <p:cNvSpPr/>
            <p:nvPr/>
          </p:nvSpPr>
          <p:spPr>
            <a:xfrm>
              <a:off x="4811070" y="2350651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99EAFF"/>
                </a:gs>
                <a:gs pos="35000">
                  <a:srgbClr val="B8F1FF"/>
                </a:gs>
                <a:gs pos="100000">
                  <a:srgbClr val="E2FBFF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20"/>
            <p:cNvSpPr txBox="1"/>
            <p:nvPr/>
          </p:nvSpPr>
          <p:spPr>
            <a:xfrm>
              <a:off x="4835658" y="2375239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odel2</a:t>
              </a:r>
              <a:endParaRPr/>
            </a:p>
          </p:txBody>
        </p:sp>
        <p:sp>
          <p:nvSpPr>
            <p:cNvPr id="270" name="Google Shape;270;p20"/>
            <p:cNvSpPr/>
            <p:nvPr/>
          </p:nvSpPr>
          <p:spPr>
            <a:xfrm>
              <a:off x="5440680" y="839588"/>
              <a:ext cx="1636985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0"/>
                  </a:moveTo>
                  <a:lnTo>
                    <a:pt x="0" y="60000"/>
                  </a:lnTo>
                  <a:lnTo>
                    <a:pt x="120000" y="60000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71" name="Google Shape;271;p20"/>
            <p:cNvSpPr/>
            <p:nvPr/>
          </p:nvSpPr>
          <p:spPr>
            <a:xfrm>
              <a:off x="6448055" y="1175380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C8B2E9"/>
                </a:gs>
                <a:gs pos="35000">
                  <a:srgbClr val="D6CAED"/>
                </a:gs>
                <a:gs pos="100000">
                  <a:srgbClr val="EFE8FA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20"/>
            <p:cNvSpPr txBox="1"/>
            <p:nvPr/>
          </p:nvSpPr>
          <p:spPr>
            <a:xfrm>
              <a:off x="6472643" y="1199968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andom sample3 with replacement</a:t>
              </a:r>
              <a:endParaRPr/>
            </a:p>
          </p:txBody>
        </p:sp>
        <p:sp>
          <p:nvSpPr>
            <p:cNvPr id="273" name="Google Shape;273;p20"/>
            <p:cNvSpPr/>
            <p:nvPr/>
          </p:nvSpPr>
          <p:spPr>
            <a:xfrm>
              <a:off x="7031945" y="2014859"/>
              <a:ext cx="91440" cy="335791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60000" y="0"/>
                  </a:moveTo>
                  <a:lnTo>
                    <a:pt x="60000" y="120000"/>
                  </a:lnTo>
                </a:path>
              </a:pathLst>
            </a:custGeom>
            <a:noFill/>
            <a:ln w="25400" cap="flat" cmpd="sng">
              <a:solidFill>
                <a:srgbClr val="49ACC5"/>
              </a:solidFill>
              <a:prstDash val="solid"/>
              <a:round/>
              <a:headEnd type="none" w="sm" len="sm"/>
              <a:tailEnd type="none" w="sm" len="sm"/>
            </a:ln>
          </p:spPr>
        </p:sp>
        <p:sp>
          <p:nvSpPr>
            <p:cNvPr id="274" name="Google Shape;274;p20"/>
            <p:cNvSpPr/>
            <p:nvPr/>
          </p:nvSpPr>
          <p:spPr>
            <a:xfrm>
              <a:off x="6448055" y="2350651"/>
              <a:ext cx="1259219" cy="839479"/>
            </a:xfrm>
            <a:prstGeom prst="roundRect">
              <a:avLst>
                <a:gd name="adj" fmla="val 10000"/>
              </a:avLst>
            </a:prstGeom>
            <a:gradFill>
              <a:gsLst>
                <a:gs pos="0">
                  <a:srgbClr val="99EAFF"/>
                </a:gs>
                <a:gs pos="35000">
                  <a:srgbClr val="B8F1FF"/>
                </a:gs>
                <a:gs pos="100000">
                  <a:srgbClr val="E2FBFF"/>
                </a:gs>
              </a:gsLst>
              <a:lin ang="16200000" scaled="0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7647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0"/>
            <p:cNvSpPr txBox="1"/>
            <p:nvPr/>
          </p:nvSpPr>
          <p:spPr>
            <a:xfrm>
              <a:off x="6472643" y="2375239"/>
              <a:ext cx="1210043" cy="7903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3325" tIns="53325" rIns="53325" bIns="533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sz="14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Model3</a:t>
              </a:r>
              <a:endParaRPr/>
            </a:p>
          </p:txBody>
        </p:sp>
      </p:grpSp>
      <p:sp>
        <p:nvSpPr>
          <p:cNvPr id="276" name="Google Shape;276;p20"/>
          <p:cNvSpPr/>
          <p:nvPr/>
        </p:nvSpPr>
        <p:spPr>
          <a:xfrm rot="5400000">
            <a:off x="5826760" y="3175000"/>
            <a:ext cx="508000" cy="4500880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cap="flat" cmpd="sng">
            <a:solidFill>
              <a:srgbClr val="4A7D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20"/>
          <p:cNvSpPr/>
          <p:nvPr/>
        </p:nvSpPr>
        <p:spPr>
          <a:xfrm>
            <a:off x="3718560" y="5821680"/>
            <a:ext cx="4612640" cy="558800"/>
          </a:xfrm>
          <a:prstGeom prst="rect">
            <a:avLst/>
          </a:prstGeom>
          <a:gradFill>
            <a:gsLst>
              <a:gs pos="0">
                <a:srgbClr val="DAFEA4"/>
              </a:gs>
              <a:gs pos="35000">
                <a:srgbClr val="E3FEBF"/>
              </a:gs>
              <a:gs pos="100000">
                <a:srgbClr val="F4FEE6"/>
              </a:gs>
            </a:gsLst>
            <a:lin ang="16200000" scaled="0"/>
          </a:gradFill>
          <a:ln w="9525" cap="flat" cmpd="sng">
            <a:solidFill>
              <a:srgbClr val="97B853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647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ggregation based on voting for classification and average for regression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1075</Words>
  <Application>Microsoft Office PowerPoint</Application>
  <PresentationFormat>Widescreen</PresentationFormat>
  <Paragraphs>130</Paragraphs>
  <Slides>2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andara</vt:lpstr>
      <vt:lpstr>Corbel</vt:lpstr>
      <vt:lpstr>Times New Roman</vt:lpstr>
      <vt:lpstr>Office Theme</vt:lpstr>
      <vt:lpstr>1_Office Theme</vt:lpstr>
      <vt:lpstr>5_Office Theme</vt:lpstr>
      <vt:lpstr>think-cell Slide</vt:lpstr>
      <vt:lpstr>Ensemble Techniques</vt:lpstr>
      <vt:lpstr>Learning Objectives </vt:lpstr>
      <vt:lpstr>Ensemble methods</vt:lpstr>
      <vt:lpstr> Ensemble methods- Characteristics </vt:lpstr>
      <vt:lpstr>Bias-Variance error</vt:lpstr>
      <vt:lpstr>PowerPoint Presentation</vt:lpstr>
      <vt:lpstr>Bagging concept and hands on exercise</vt:lpstr>
      <vt:lpstr>Bagging (Bootstrap Aggregation) </vt:lpstr>
      <vt:lpstr>Bagging example</vt:lpstr>
      <vt:lpstr>Boosting concept </vt:lpstr>
      <vt:lpstr>Decision Tree v/s Bagging</vt:lpstr>
      <vt:lpstr>PowerPoint Presentation</vt:lpstr>
      <vt:lpstr> Types of Boosting </vt:lpstr>
      <vt:lpstr>Difference between Adaboost and GradientBoost</vt:lpstr>
      <vt:lpstr>Random Forest  </vt:lpstr>
      <vt:lpstr>Case Study - Wine quality produc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ision Tree and Ensemble Methods</dc:title>
  <cp:lastModifiedBy>Aniket Chhabra</cp:lastModifiedBy>
  <cp:revision>4</cp:revision>
  <dcterms:modified xsi:type="dcterms:W3CDTF">2021-09-25T12:01:26Z</dcterms:modified>
</cp:coreProperties>
</file>